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3761" r:id="rId2"/>
    <p:sldMasterId id="2147483767" r:id="rId3"/>
  </p:sldMasterIdLst>
  <p:notesMasterIdLst>
    <p:notesMasterId r:id="rId9"/>
  </p:notesMasterIdLst>
  <p:handoutMasterIdLst>
    <p:handoutMasterId r:id="rId10"/>
  </p:handoutMasterIdLst>
  <p:sldIdLst>
    <p:sldId id="294" r:id="rId4"/>
    <p:sldId id="293" r:id="rId5"/>
    <p:sldId id="292" r:id="rId6"/>
    <p:sldId id="295" r:id="rId7"/>
    <p:sldId id="297" r:id="rId8"/>
  </p:sldIdLst>
  <p:sldSz cx="10801350" cy="6076950"/>
  <p:notesSz cx="6797675" cy="9926638"/>
  <p:defaultTextStyle>
    <a:defPPr>
      <a:defRPr lang="en-GB"/>
    </a:defPPr>
    <a:lvl1pPr algn="l" rtl="0" eaLnBrk="0" fontAlgn="base" hangingPunct="0">
      <a:spcBef>
        <a:spcPct val="0"/>
      </a:spcBef>
      <a:spcAft>
        <a:spcPct val="0"/>
      </a:spcAft>
      <a:defRPr sz="2800" kern="1200">
        <a:solidFill>
          <a:schemeClr val="tx1"/>
        </a:solidFill>
        <a:latin typeface="Arial" charset="0"/>
        <a:ea typeface="+mn-ea"/>
        <a:cs typeface="+mn-cs"/>
      </a:defRPr>
    </a:lvl1pPr>
    <a:lvl2pPr marL="539856" algn="l" rtl="0" eaLnBrk="0" fontAlgn="base" hangingPunct="0">
      <a:spcBef>
        <a:spcPct val="0"/>
      </a:spcBef>
      <a:spcAft>
        <a:spcPct val="0"/>
      </a:spcAft>
      <a:defRPr sz="2800" kern="1200">
        <a:solidFill>
          <a:schemeClr val="tx1"/>
        </a:solidFill>
        <a:latin typeface="Arial" charset="0"/>
        <a:ea typeface="+mn-ea"/>
        <a:cs typeface="+mn-cs"/>
      </a:defRPr>
    </a:lvl2pPr>
    <a:lvl3pPr marL="1079708" algn="l" rtl="0" eaLnBrk="0" fontAlgn="base" hangingPunct="0">
      <a:spcBef>
        <a:spcPct val="0"/>
      </a:spcBef>
      <a:spcAft>
        <a:spcPct val="0"/>
      </a:spcAft>
      <a:defRPr sz="2800" kern="1200">
        <a:solidFill>
          <a:schemeClr val="tx1"/>
        </a:solidFill>
        <a:latin typeface="Arial" charset="0"/>
        <a:ea typeface="+mn-ea"/>
        <a:cs typeface="+mn-cs"/>
      </a:defRPr>
    </a:lvl3pPr>
    <a:lvl4pPr marL="1619564" algn="l" rtl="0" eaLnBrk="0" fontAlgn="base" hangingPunct="0">
      <a:spcBef>
        <a:spcPct val="0"/>
      </a:spcBef>
      <a:spcAft>
        <a:spcPct val="0"/>
      </a:spcAft>
      <a:defRPr sz="2800" kern="1200">
        <a:solidFill>
          <a:schemeClr val="tx1"/>
        </a:solidFill>
        <a:latin typeface="Arial" charset="0"/>
        <a:ea typeface="+mn-ea"/>
        <a:cs typeface="+mn-cs"/>
      </a:defRPr>
    </a:lvl4pPr>
    <a:lvl5pPr marL="2159418" algn="l" rtl="0" eaLnBrk="0" fontAlgn="base" hangingPunct="0">
      <a:spcBef>
        <a:spcPct val="0"/>
      </a:spcBef>
      <a:spcAft>
        <a:spcPct val="0"/>
      </a:spcAft>
      <a:defRPr sz="2800" kern="1200">
        <a:solidFill>
          <a:schemeClr val="tx1"/>
        </a:solidFill>
        <a:latin typeface="Arial" charset="0"/>
        <a:ea typeface="+mn-ea"/>
        <a:cs typeface="+mn-cs"/>
      </a:defRPr>
    </a:lvl5pPr>
    <a:lvl6pPr marL="2699273" algn="l" defTabSz="1079708" rtl="0" eaLnBrk="1" latinLnBrk="0" hangingPunct="1">
      <a:defRPr sz="2800" kern="1200">
        <a:solidFill>
          <a:schemeClr val="tx1"/>
        </a:solidFill>
        <a:latin typeface="Arial" charset="0"/>
        <a:ea typeface="+mn-ea"/>
        <a:cs typeface="+mn-cs"/>
      </a:defRPr>
    </a:lvl6pPr>
    <a:lvl7pPr marL="3239127" algn="l" defTabSz="1079708" rtl="0" eaLnBrk="1" latinLnBrk="0" hangingPunct="1">
      <a:defRPr sz="2800" kern="1200">
        <a:solidFill>
          <a:schemeClr val="tx1"/>
        </a:solidFill>
        <a:latin typeface="Arial" charset="0"/>
        <a:ea typeface="+mn-ea"/>
        <a:cs typeface="+mn-cs"/>
      </a:defRPr>
    </a:lvl7pPr>
    <a:lvl8pPr marL="3778982" algn="l" defTabSz="1079708" rtl="0" eaLnBrk="1" latinLnBrk="0" hangingPunct="1">
      <a:defRPr sz="2800" kern="1200">
        <a:solidFill>
          <a:schemeClr val="tx1"/>
        </a:solidFill>
        <a:latin typeface="Arial" charset="0"/>
        <a:ea typeface="+mn-ea"/>
        <a:cs typeface="+mn-cs"/>
      </a:defRPr>
    </a:lvl8pPr>
    <a:lvl9pPr marL="4318837" algn="l" defTabSz="1079708" rtl="0" eaLnBrk="1" latinLnBrk="0" hangingPunct="1">
      <a:defRPr sz="2800" kern="1200">
        <a:solidFill>
          <a:schemeClr val="tx1"/>
        </a:solidFill>
        <a:latin typeface="Arial" charset="0"/>
        <a:ea typeface="+mn-ea"/>
        <a:cs typeface="+mn-cs"/>
      </a:defRPr>
    </a:lvl9pPr>
  </p:defaultTextStyle>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ELHAM Nils" initials="W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CCFF"/>
    <a:srgbClr val="009BBB"/>
    <a:srgbClr val="D6001A"/>
    <a:srgbClr val="065C53"/>
    <a:srgbClr val="88D0C8"/>
    <a:srgbClr val="F28CA3"/>
    <a:srgbClr val="82C8EF"/>
    <a:srgbClr val="949D9E"/>
    <a:srgbClr val="003478"/>
    <a:srgbClr val="954A0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02" autoAdjust="0"/>
    <p:restoredTop sz="99453" autoAdjust="0"/>
  </p:normalViewPr>
  <p:slideViewPr>
    <p:cSldViewPr>
      <p:cViewPr>
        <p:scale>
          <a:sx n="100" d="100"/>
          <a:sy n="100" d="100"/>
        </p:scale>
        <p:origin x="-660" y="-540"/>
      </p:cViewPr>
      <p:guideLst>
        <p:guide orient="horz" pos="3502"/>
        <p:guide orient="horz" pos="190"/>
        <p:guide orient="horz" pos="3411"/>
        <p:guide pos="181"/>
        <p:guide pos="6623"/>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4" d="100"/>
        <a:sy n="104" d="100"/>
      </p:scale>
      <p:origin x="0" y="0"/>
    </p:cViewPr>
  </p:sorterViewPr>
  <p:notesViewPr>
    <p:cSldViewPr>
      <p:cViewPr varScale="1">
        <p:scale>
          <a:sx n="83" d="100"/>
          <a:sy n="83" d="100"/>
        </p:scale>
        <p:origin x="-3822"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notesMaster" Target="notesMasters/notesMaster1.xml"/><Relationship Id="rId14"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2058D1-E6EF-4999-A3F8-544C564E5EF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31D216CC-03E4-4DF6-BCBF-163E37F89D10}">
      <dgm:prSet phldrT="[Text]"/>
      <dgm:spPr>
        <a:solidFill>
          <a:srgbClr val="00B0F0"/>
        </a:solidFill>
      </dgm:spPr>
      <dgm:t>
        <a:bodyPr/>
        <a:lstStyle/>
        <a:p>
          <a:r>
            <a:rPr lang="en-US" dirty="0" smtClean="0"/>
            <a:t>Business / Conceptual</a:t>
          </a:r>
          <a:endParaRPr lang="en-GB" dirty="0"/>
        </a:p>
      </dgm:t>
    </dgm:pt>
    <dgm:pt modelId="{7E873837-932E-445F-A73A-BF86B2526AE6}" type="parTrans" cxnId="{4F0D201C-F9CC-42B4-8D03-F80FBDF457A9}">
      <dgm:prSet/>
      <dgm:spPr/>
      <dgm:t>
        <a:bodyPr/>
        <a:lstStyle/>
        <a:p>
          <a:endParaRPr lang="en-GB"/>
        </a:p>
      </dgm:t>
    </dgm:pt>
    <dgm:pt modelId="{138E361D-6FAB-4FF8-ADF4-F4516F6A8E71}" type="sibTrans" cxnId="{4F0D201C-F9CC-42B4-8D03-F80FBDF457A9}">
      <dgm:prSet/>
      <dgm:spPr/>
      <dgm:t>
        <a:bodyPr/>
        <a:lstStyle/>
        <a:p>
          <a:endParaRPr lang="en-GB"/>
        </a:p>
      </dgm:t>
    </dgm:pt>
    <dgm:pt modelId="{B908169D-D907-464E-A487-1E70706CEEB9}">
      <dgm:prSet phldrT="[Text]"/>
      <dgm:spPr>
        <a:solidFill>
          <a:srgbClr val="00B0F0"/>
        </a:solidFill>
      </dgm:spPr>
      <dgm:t>
        <a:bodyPr/>
        <a:lstStyle/>
        <a:p>
          <a:r>
            <a:rPr lang="en-US" dirty="0" smtClean="0"/>
            <a:t>Logical</a:t>
          </a:r>
          <a:endParaRPr lang="en-GB" dirty="0"/>
        </a:p>
      </dgm:t>
    </dgm:pt>
    <dgm:pt modelId="{E82549FB-55EE-4CAC-B551-90B4C78B2461}" type="parTrans" cxnId="{57639691-5991-4162-AFC0-C1DBA646B0D0}">
      <dgm:prSet/>
      <dgm:spPr/>
      <dgm:t>
        <a:bodyPr/>
        <a:lstStyle/>
        <a:p>
          <a:endParaRPr lang="en-GB"/>
        </a:p>
      </dgm:t>
    </dgm:pt>
    <dgm:pt modelId="{DD3DCD93-A70A-4DF3-8C0D-BB1FA87F4482}" type="sibTrans" cxnId="{57639691-5991-4162-AFC0-C1DBA646B0D0}">
      <dgm:prSet/>
      <dgm:spPr/>
      <dgm:t>
        <a:bodyPr/>
        <a:lstStyle/>
        <a:p>
          <a:endParaRPr lang="en-GB"/>
        </a:p>
      </dgm:t>
    </dgm:pt>
    <dgm:pt modelId="{2F5CBAE5-5EC3-4224-A6BB-138D67CDF3CE}">
      <dgm:prSet phldrT="[Text]"/>
      <dgm:spPr>
        <a:solidFill>
          <a:srgbClr val="00B0F0"/>
        </a:solidFill>
      </dgm:spPr>
      <dgm:t>
        <a:bodyPr/>
        <a:lstStyle/>
        <a:p>
          <a:r>
            <a:rPr lang="en-US" dirty="0" smtClean="0"/>
            <a:t>Physical</a:t>
          </a:r>
          <a:endParaRPr lang="en-GB" dirty="0"/>
        </a:p>
      </dgm:t>
    </dgm:pt>
    <dgm:pt modelId="{9C329C82-331D-4219-96DB-00AD91B5D384}" type="parTrans" cxnId="{98C63BB3-3AC2-4BF8-9B99-795480FCB0A6}">
      <dgm:prSet/>
      <dgm:spPr/>
      <dgm:t>
        <a:bodyPr/>
        <a:lstStyle/>
        <a:p>
          <a:endParaRPr lang="en-GB"/>
        </a:p>
      </dgm:t>
    </dgm:pt>
    <dgm:pt modelId="{CE67751D-A969-4247-88A7-BB6EC587A80C}" type="sibTrans" cxnId="{98C63BB3-3AC2-4BF8-9B99-795480FCB0A6}">
      <dgm:prSet/>
      <dgm:spPr/>
      <dgm:t>
        <a:bodyPr/>
        <a:lstStyle/>
        <a:p>
          <a:endParaRPr lang="en-GB"/>
        </a:p>
      </dgm:t>
    </dgm:pt>
    <dgm:pt modelId="{7450C7A1-5657-4E2D-9B31-DB72DCC42629}">
      <dgm:prSet phldrT="[Text]"/>
      <dgm:spPr/>
      <dgm:t>
        <a:bodyPr/>
        <a:lstStyle/>
        <a:p>
          <a:r>
            <a:rPr lang="en-US" dirty="0" smtClean="0"/>
            <a:t>Defines financial concepts, e.g., ‘Credit Transfer’ and business processes</a:t>
          </a:r>
          <a:endParaRPr lang="en-GB" dirty="0"/>
        </a:p>
      </dgm:t>
    </dgm:pt>
    <dgm:pt modelId="{B3F11E41-99B4-489D-951F-C3BA77997214}" type="parTrans" cxnId="{39F33FF4-506F-44E4-812C-AABC1C6A3F99}">
      <dgm:prSet/>
      <dgm:spPr/>
      <dgm:t>
        <a:bodyPr/>
        <a:lstStyle/>
        <a:p>
          <a:endParaRPr lang="en-GB"/>
        </a:p>
      </dgm:t>
    </dgm:pt>
    <dgm:pt modelId="{0B2FD13F-C1C7-4866-B57F-83F9663EDB9B}" type="sibTrans" cxnId="{39F33FF4-506F-44E4-812C-AABC1C6A3F99}">
      <dgm:prSet/>
      <dgm:spPr/>
      <dgm:t>
        <a:bodyPr/>
        <a:lstStyle/>
        <a:p>
          <a:endParaRPr lang="en-GB"/>
        </a:p>
      </dgm:t>
    </dgm:pt>
    <dgm:pt modelId="{FD484F28-31CC-4A9E-A036-549A23998571}">
      <dgm:prSet phldrT="[Text]"/>
      <dgm:spPr/>
      <dgm:t>
        <a:bodyPr/>
        <a:lstStyle/>
        <a:p>
          <a:r>
            <a:rPr lang="en-US" dirty="0" smtClean="0"/>
            <a:t>Defines e.g. credit transfer messages, to serve the business process</a:t>
          </a:r>
          <a:endParaRPr lang="en-GB" dirty="0"/>
        </a:p>
      </dgm:t>
    </dgm:pt>
    <dgm:pt modelId="{47346289-1EC4-452B-A7F0-B82224E00820}" type="parTrans" cxnId="{1B903CD2-C234-4432-9418-BE33FAD8C40C}">
      <dgm:prSet/>
      <dgm:spPr/>
      <dgm:t>
        <a:bodyPr/>
        <a:lstStyle/>
        <a:p>
          <a:endParaRPr lang="en-GB"/>
        </a:p>
      </dgm:t>
    </dgm:pt>
    <dgm:pt modelId="{4E789BD4-7E0F-478C-B770-957E6181372F}" type="sibTrans" cxnId="{1B903CD2-C234-4432-9418-BE33FAD8C40C}">
      <dgm:prSet/>
      <dgm:spPr/>
      <dgm:t>
        <a:bodyPr/>
        <a:lstStyle/>
        <a:p>
          <a:endParaRPr lang="en-GB"/>
        </a:p>
      </dgm:t>
    </dgm:pt>
    <dgm:pt modelId="{F6AEE943-A7FA-4BB8-84BE-BD6D62DAD733}">
      <dgm:prSet phldrT="[Text]"/>
      <dgm:spPr/>
      <dgm:t>
        <a:bodyPr/>
        <a:lstStyle/>
        <a:p>
          <a:r>
            <a:rPr lang="en-US" dirty="0" smtClean="0"/>
            <a:t>Defines physical syntax, e.g. XML</a:t>
          </a:r>
          <a:endParaRPr lang="en-GB" dirty="0"/>
        </a:p>
      </dgm:t>
    </dgm:pt>
    <dgm:pt modelId="{DAD2063C-B241-4B7B-9D86-7EAF64BCEE73}" type="parTrans" cxnId="{563A1D77-F6E6-44CF-A23F-ED9ECC81FF84}">
      <dgm:prSet/>
      <dgm:spPr/>
      <dgm:t>
        <a:bodyPr/>
        <a:lstStyle/>
        <a:p>
          <a:endParaRPr lang="en-GB"/>
        </a:p>
      </dgm:t>
    </dgm:pt>
    <dgm:pt modelId="{174EF49E-C9D9-45E2-8783-0974D5C30737}" type="sibTrans" cxnId="{563A1D77-F6E6-44CF-A23F-ED9ECC81FF84}">
      <dgm:prSet/>
      <dgm:spPr/>
      <dgm:t>
        <a:bodyPr/>
        <a:lstStyle/>
        <a:p>
          <a:endParaRPr lang="en-GB"/>
        </a:p>
      </dgm:t>
    </dgm:pt>
    <dgm:pt modelId="{61667292-4872-44C5-BA05-99D042737EDC}" type="pres">
      <dgm:prSet presAssocID="{4B2058D1-E6EF-4999-A3F8-544C564E5EFD}" presName="linear" presStyleCnt="0">
        <dgm:presLayoutVars>
          <dgm:dir/>
          <dgm:animLvl val="lvl"/>
          <dgm:resizeHandles val="exact"/>
        </dgm:presLayoutVars>
      </dgm:prSet>
      <dgm:spPr/>
      <dgm:t>
        <a:bodyPr/>
        <a:lstStyle/>
        <a:p>
          <a:endParaRPr lang="en-GB"/>
        </a:p>
      </dgm:t>
    </dgm:pt>
    <dgm:pt modelId="{DA4D9304-669D-4969-90E6-CFAFCCF4B65F}" type="pres">
      <dgm:prSet presAssocID="{31D216CC-03E4-4DF6-BCBF-163E37F89D10}" presName="parentLin" presStyleCnt="0"/>
      <dgm:spPr/>
    </dgm:pt>
    <dgm:pt modelId="{EF41BBE2-B70B-4ED7-8594-301868582543}" type="pres">
      <dgm:prSet presAssocID="{31D216CC-03E4-4DF6-BCBF-163E37F89D10}" presName="parentLeftMargin" presStyleLbl="node1" presStyleIdx="0" presStyleCnt="3"/>
      <dgm:spPr/>
      <dgm:t>
        <a:bodyPr/>
        <a:lstStyle/>
        <a:p>
          <a:endParaRPr lang="en-GB"/>
        </a:p>
      </dgm:t>
    </dgm:pt>
    <dgm:pt modelId="{27217557-98C3-4DD9-85EF-C2B1A8485ACA}" type="pres">
      <dgm:prSet presAssocID="{31D216CC-03E4-4DF6-BCBF-163E37F89D10}" presName="parentText" presStyleLbl="node1" presStyleIdx="0" presStyleCnt="3">
        <dgm:presLayoutVars>
          <dgm:chMax val="0"/>
          <dgm:bulletEnabled val="1"/>
        </dgm:presLayoutVars>
      </dgm:prSet>
      <dgm:spPr/>
      <dgm:t>
        <a:bodyPr/>
        <a:lstStyle/>
        <a:p>
          <a:endParaRPr lang="en-GB"/>
        </a:p>
      </dgm:t>
    </dgm:pt>
    <dgm:pt modelId="{35D180BC-C775-4CCE-98A0-D78F65C57641}" type="pres">
      <dgm:prSet presAssocID="{31D216CC-03E4-4DF6-BCBF-163E37F89D10}" presName="negativeSpace" presStyleCnt="0"/>
      <dgm:spPr/>
    </dgm:pt>
    <dgm:pt modelId="{DE8CE39E-F6D3-45B2-9A60-06FD023F1A7F}" type="pres">
      <dgm:prSet presAssocID="{31D216CC-03E4-4DF6-BCBF-163E37F89D10}" presName="childText" presStyleLbl="conFgAcc1" presStyleIdx="0" presStyleCnt="3">
        <dgm:presLayoutVars>
          <dgm:bulletEnabled val="1"/>
        </dgm:presLayoutVars>
      </dgm:prSet>
      <dgm:spPr/>
      <dgm:t>
        <a:bodyPr/>
        <a:lstStyle/>
        <a:p>
          <a:endParaRPr lang="en-GB"/>
        </a:p>
      </dgm:t>
    </dgm:pt>
    <dgm:pt modelId="{E4DA68C0-89F2-4E82-8D29-2F79C2217A73}" type="pres">
      <dgm:prSet presAssocID="{138E361D-6FAB-4FF8-ADF4-F4516F6A8E71}" presName="spaceBetweenRectangles" presStyleCnt="0"/>
      <dgm:spPr/>
    </dgm:pt>
    <dgm:pt modelId="{A31FB26C-F3AC-4B98-B3DD-D1E9677368FC}" type="pres">
      <dgm:prSet presAssocID="{B908169D-D907-464E-A487-1E70706CEEB9}" presName="parentLin" presStyleCnt="0"/>
      <dgm:spPr/>
    </dgm:pt>
    <dgm:pt modelId="{0347B5FE-892E-48A0-A742-0410B878A99C}" type="pres">
      <dgm:prSet presAssocID="{B908169D-D907-464E-A487-1E70706CEEB9}" presName="parentLeftMargin" presStyleLbl="node1" presStyleIdx="0" presStyleCnt="3"/>
      <dgm:spPr/>
      <dgm:t>
        <a:bodyPr/>
        <a:lstStyle/>
        <a:p>
          <a:endParaRPr lang="en-GB"/>
        </a:p>
      </dgm:t>
    </dgm:pt>
    <dgm:pt modelId="{824859B4-F9F3-4321-AA63-4DEADB4C304A}" type="pres">
      <dgm:prSet presAssocID="{B908169D-D907-464E-A487-1E70706CEEB9}" presName="parentText" presStyleLbl="node1" presStyleIdx="1" presStyleCnt="3">
        <dgm:presLayoutVars>
          <dgm:chMax val="0"/>
          <dgm:bulletEnabled val="1"/>
        </dgm:presLayoutVars>
      </dgm:prSet>
      <dgm:spPr/>
      <dgm:t>
        <a:bodyPr/>
        <a:lstStyle/>
        <a:p>
          <a:endParaRPr lang="en-GB"/>
        </a:p>
      </dgm:t>
    </dgm:pt>
    <dgm:pt modelId="{F47F551D-F290-4797-B7F8-537199E6ECD9}" type="pres">
      <dgm:prSet presAssocID="{B908169D-D907-464E-A487-1E70706CEEB9}" presName="negativeSpace" presStyleCnt="0"/>
      <dgm:spPr/>
    </dgm:pt>
    <dgm:pt modelId="{205E545E-8C0E-4548-8455-095614BDBBF7}" type="pres">
      <dgm:prSet presAssocID="{B908169D-D907-464E-A487-1E70706CEEB9}" presName="childText" presStyleLbl="conFgAcc1" presStyleIdx="1" presStyleCnt="3">
        <dgm:presLayoutVars>
          <dgm:bulletEnabled val="1"/>
        </dgm:presLayoutVars>
      </dgm:prSet>
      <dgm:spPr/>
      <dgm:t>
        <a:bodyPr/>
        <a:lstStyle/>
        <a:p>
          <a:endParaRPr lang="en-GB"/>
        </a:p>
      </dgm:t>
    </dgm:pt>
    <dgm:pt modelId="{21FAB537-0331-43D6-A401-AD537640557D}" type="pres">
      <dgm:prSet presAssocID="{DD3DCD93-A70A-4DF3-8C0D-BB1FA87F4482}" presName="spaceBetweenRectangles" presStyleCnt="0"/>
      <dgm:spPr/>
    </dgm:pt>
    <dgm:pt modelId="{7A6B010D-F8E4-4DC0-8787-A964225965D8}" type="pres">
      <dgm:prSet presAssocID="{2F5CBAE5-5EC3-4224-A6BB-138D67CDF3CE}" presName="parentLin" presStyleCnt="0"/>
      <dgm:spPr/>
    </dgm:pt>
    <dgm:pt modelId="{357CCA12-42ED-45EC-B024-A2014DAF0495}" type="pres">
      <dgm:prSet presAssocID="{2F5CBAE5-5EC3-4224-A6BB-138D67CDF3CE}" presName="parentLeftMargin" presStyleLbl="node1" presStyleIdx="1" presStyleCnt="3"/>
      <dgm:spPr/>
      <dgm:t>
        <a:bodyPr/>
        <a:lstStyle/>
        <a:p>
          <a:endParaRPr lang="en-GB"/>
        </a:p>
      </dgm:t>
    </dgm:pt>
    <dgm:pt modelId="{BD2ACD34-ED11-406A-9E51-18194DADAD33}" type="pres">
      <dgm:prSet presAssocID="{2F5CBAE5-5EC3-4224-A6BB-138D67CDF3CE}" presName="parentText" presStyleLbl="node1" presStyleIdx="2" presStyleCnt="3">
        <dgm:presLayoutVars>
          <dgm:chMax val="0"/>
          <dgm:bulletEnabled val="1"/>
        </dgm:presLayoutVars>
      </dgm:prSet>
      <dgm:spPr/>
      <dgm:t>
        <a:bodyPr/>
        <a:lstStyle/>
        <a:p>
          <a:endParaRPr lang="en-GB"/>
        </a:p>
      </dgm:t>
    </dgm:pt>
    <dgm:pt modelId="{359F6015-448D-460D-B0BD-ED5971DE12AE}" type="pres">
      <dgm:prSet presAssocID="{2F5CBAE5-5EC3-4224-A6BB-138D67CDF3CE}" presName="negativeSpace" presStyleCnt="0"/>
      <dgm:spPr/>
    </dgm:pt>
    <dgm:pt modelId="{1831819A-FC77-48B8-8266-A6FD98064873}" type="pres">
      <dgm:prSet presAssocID="{2F5CBAE5-5EC3-4224-A6BB-138D67CDF3CE}" presName="childText" presStyleLbl="conFgAcc1" presStyleIdx="2" presStyleCnt="3">
        <dgm:presLayoutVars>
          <dgm:bulletEnabled val="1"/>
        </dgm:presLayoutVars>
      </dgm:prSet>
      <dgm:spPr/>
      <dgm:t>
        <a:bodyPr/>
        <a:lstStyle/>
        <a:p>
          <a:endParaRPr lang="en-GB"/>
        </a:p>
      </dgm:t>
    </dgm:pt>
  </dgm:ptLst>
  <dgm:cxnLst>
    <dgm:cxn modelId="{7771E1B2-B0D5-4E3D-B46B-76EDC0753163}" type="presOf" srcId="{F6AEE943-A7FA-4BB8-84BE-BD6D62DAD733}" destId="{1831819A-FC77-48B8-8266-A6FD98064873}" srcOrd="0" destOrd="0" presId="urn:microsoft.com/office/officeart/2005/8/layout/list1"/>
    <dgm:cxn modelId="{A8C9E007-4AA7-4898-9BFA-08805E05CDA6}" type="presOf" srcId="{4B2058D1-E6EF-4999-A3F8-544C564E5EFD}" destId="{61667292-4872-44C5-BA05-99D042737EDC}" srcOrd="0" destOrd="0" presId="urn:microsoft.com/office/officeart/2005/8/layout/list1"/>
    <dgm:cxn modelId="{4C2FAFDD-C48E-4B35-95AD-399EF32B1B74}" type="presOf" srcId="{FD484F28-31CC-4A9E-A036-549A23998571}" destId="{205E545E-8C0E-4548-8455-095614BDBBF7}" srcOrd="0" destOrd="0" presId="urn:microsoft.com/office/officeart/2005/8/layout/list1"/>
    <dgm:cxn modelId="{38A79401-7863-4885-AAF0-24FE56FE882F}" type="presOf" srcId="{2F5CBAE5-5EC3-4224-A6BB-138D67CDF3CE}" destId="{BD2ACD34-ED11-406A-9E51-18194DADAD33}" srcOrd="1" destOrd="0" presId="urn:microsoft.com/office/officeart/2005/8/layout/list1"/>
    <dgm:cxn modelId="{5D6E3D8A-8157-4BAA-BA3A-30B7E48ED732}" type="presOf" srcId="{31D216CC-03E4-4DF6-BCBF-163E37F89D10}" destId="{27217557-98C3-4DD9-85EF-C2B1A8485ACA}" srcOrd="1" destOrd="0" presId="urn:microsoft.com/office/officeart/2005/8/layout/list1"/>
    <dgm:cxn modelId="{5668F934-607E-45F6-999C-F4AB0385EE6C}" type="presOf" srcId="{7450C7A1-5657-4E2D-9B31-DB72DCC42629}" destId="{DE8CE39E-F6D3-45B2-9A60-06FD023F1A7F}" srcOrd="0" destOrd="0" presId="urn:microsoft.com/office/officeart/2005/8/layout/list1"/>
    <dgm:cxn modelId="{AB61D935-6182-448A-B2D0-C7BE26CEFE96}" type="presOf" srcId="{B908169D-D907-464E-A487-1E70706CEEB9}" destId="{0347B5FE-892E-48A0-A742-0410B878A99C}" srcOrd="0" destOrd="0" presId="urn:microsoft.com/office/officeart/2005/8/layout/list1"/>
    <dgm:cxn modelId="{D24A390B-695A-499E-91DD-ED086B5AFF1F}" type="presOf" srcId="{2F5CBAE5-5EC3-4224-A6BB-138D67CDF3CE}" destId="{357CCA12-42ED-45EC-B024-A2014DAF0495}" srcOrd="0" destOrd="0" presId="urn:microsoft.com/office/officeart/2005/8/layout/list1"/>
    <dgm:cxn modelId="{B0CE56D7-C32E-421A-A188-76901CC32BBD}" type="presOf" srcId="{B908169D-D907-464E-A487-1E70706CEEB9}" destId="{824859B4-F9F3-4321-AA63-4DEADB4C304A}" srcOrd="1" destOrd="0" presId="urn:microsoft.com/office/officeart/2005/8/layout/list1"/>
    <dgm:cxn modelId="{57639691-5991-4162-AFC0-C1DBA646B0D0}" srcId="{4B2058D1-E6EF-4999-A3F8-544C564E5EFD}" destId="{B908169D-D907-464E-A487-1E70706CEEB9}" srcOrd="1" destOrd="0" parTransId="{E82549FB-55EE-4CAC-B551-90B4C78B2461}" sibTransId="{DD3DCD93-A70A-4DF3-8C0D-BB1FA87F4482}"/>
    <dgm:cxn modelId="{1B903CD2-C234-4432-9418-BE33FAD8C40C}" srcId="{B908169D-D907-464E-A487-1E70706CEEB9}" destId="{FD484F28-31CC-4A9E-A036-549A23998571}" srcOrd="0" destOrd="0" parTransId="{47346289-1EC4-452B-A7F0-B82224E00820}" sibTransId="{4E789BD4-7E0F-478C-B770-957E6181372F}"/>
    <dgm:cxn modelId="{98C63BB3-3AC2-4BF8-9B99-795480FCB0A6}" srcId="{4B2058D1-E6EF-4999-A3F8-544C564E5EFD}" destId="{2F5CBAE5-5EC3-4224-A6BB-138D67CDF3CE}" srcOrd="2" destOrd="0" parTransId="{9C329C82-331D-4219-96DB-00AD91B5D384}" sibTransId="{CE67751D-A969-4247-88A7-BB6EC587A80C}"/>
    <dgm:cxn modelId="{4F0D201C-F9CC-42B4-8D03-F80FBDF457A9}" srcId="{4B2058D1-E6EF-4999-A3F8-544C564E5EFD}" destId="{31D216CC-03E4-4DF6-BCBF-163E37F89D10}" srcOrd="0" destOrd="0" parTransId="{7E873837-932E-445F-A73A-BF86B2526AE6}" sibTransId="{138E361D-6FAB-4FF8-ADF4-F4516F6A8E71}"/>
    <dgm:cxn modelId="{39F33FF4-506F-44E4-812C-AABC1C6A3F99}" srcId="{31D216CC-03E4-4DF6-BCBF-163E37F89D10}" destId="{7450C7A1-5657-4E2D-9B31-DB72DCC42629}" srcOrd="0" destOrd="0" parTransId="{B3F11E41-99B4-489D-951F-C3BA77997214}" sibTransId="{0B2FD13F-C1C7-4866-B57F-83F9663EDB9B}"/>
    <dgm:cxn modelId="{563A1D77-F6E6-44CF-A23F-ED9ECC81FF84}" srcId="{2F5CBAE5-5EC3-4224-A6BB-138D67CDF3CE}" destId="{F6AEE943-A7FA-4BB8-84BE-BD6D62DAD733}" srcOrd="0" destOrd="0" parTransId="{DAD2063C-B241-4B7B-9D86-7EAF64BCEE73}" sibTransId="{174EF49E-C9D9-45E2-8783-0974D5C30737}"/>
    <dgm:cxn modelId="{CBB298DD-7355-4F42-BEFC-1DB1405412B1}" type="presOf" srcId="{31D216CC-03E4-4DF6-BCBF-163E37F89D10}" destId="{EF41BBE2-B70B-4ED7-8594-301868582543}" srcOrd="0" destOrd="0" presId="urn:microsoft.com/office/officeart/2005/8/layout/list1"/>
    <dgm:cxn modelId="{27CD3F8D-84EB-43EE-A9C7-D9036A184CD2}" type="presParOf" srcId="{61667292-4872-44C5-BA05-99D042737EDC}" destId="{DA4D9304-669D-4969-90E6-CFAFCCF4B65F}" srcOrd="0" destOrd="0" presId="urn:microsoft.com/office/officeart/2005/8/layout/list1"/>
    <dgm:cxn modelId="{B9460C29-3BF7-4AEE-9AE3-50634C33FD6C}" type="presParOf" srcId="{DA4D9304-669D-4969-90E6-CFAFCCF4B65F}" destId="{EF41BBE2-B70B-4ED7-8594-301868582543}" srcOrd="0" destOrd="0" presId="urn:microsoft.com/office/officeart/2005/8/layout/list1"/>
    <dgm:cxn modelId="{EADD9631-E8B6-496B-BAD5-A8B98484A8E9}" type="presParOf" srcId="{DA4D9304-669D-4969-90E6-CFAFCCF4B65F}" destId="{27217557-98C3-4DD9-85EF-C2B1A8485ACA}" srcOrd="1" destOrd="0" presId="urn:microsoft.com/office/officeart/2005/8/layout/list1"/>
    <dgm:cxn modelId="{626707EE-ECBC-448D-9022-03469A9D9CFD}" type="presParOf" srcId="{61667292-4872-44C5-BA05-99D042737EDC}" destId="{35D180BC-C775-4CCE-98A0-D78F65C57641}" srcOrd="1" destOrd="0" presId="urn:microsoft.com/office/officeart/2005/8/layout/list1"/>
    <dgm:cxn modelId="{B4432FB8-E64E-4546-B51F-C60CBF8F9F8B}" type="presParOf" srcId="{61667292-4872-44C5-BA05-99D042737EDC}" destId="{DE8CE39E-F6D3-45B2-9A60-06FD023F1A7F}" srcOrd="2" destOrd="0" presId="urn:microsoft.com/office/officeart/2005/8/layout/list1"/>
    <dgm:cxn modelId="{FC17EF60-63BD-407D-8848-1DF36EBBA1E5}" type="presParOf" srcId="{61667292-4872-44C5-BA05-99D042737EDC}" destId="{E4DA68C0-89F2-4E82-8D29-2F79C2217A73}" srcOrd="3" destOrd="0" presId="urn:microsoft.com/office/officeart/2005/8/layout/list1"/>
    <dgm:cxn modelId="{122C8BE3-435D-4234-8E0B-56ECC78C1529}" type="presParOf" srcId="{61667292-4872-44C5-BA05-99D042737EDC}" destId="{A31FB26C-F3AC-4B98-B3DD-D1E9677368FC}" srcOrd="4" destOrd="0" presId="urn:microsoft.com/office/officeart/2005/8/layout/list1"/>
    <dgm:cxn modelId="{65EE3F24-A969-4D79-AB70-5F01E5F5B3EA}" type="presParOf" srcId="{A31FB26C-F3AC-4B98-B3DD-D1E9677368FC}" destId="{0347B5FE-892E-48A0-A742-0410B878A99C}" srcOrd="0" destOrd="0" presId="urn:microsoft.com/office/officeart/2005/8/layout/list1"/>
    <dgm:cxn modelId="{12B0CB9C-6A6C-4EB1-8875-EE0DFEAE1407}" type="presParOf" srcId="{A31FB26C-F3AC-4B98-B3DD-D1E9677368FC}" destId="{824859B4-F9F3-4321-AA63-4DEADB4C304A}" srcOrd="1" destOrd="0" presId="urn:microsoft.com/office/officeart/2005/8/layout/list1"/>
    <dgm:cxn modelId="{B5DF7DBD-FB1C-409A-9A80-CFFEFE774054}" type="presParOf" srcId="{61667292-4872-44C5-BA05-99D042737EDC}" destId="{F47F551D-F290-4797-B7F8-537199E6ECD9}" srcOrd="5" destOrd="0" presId="urn:microsoft.com/office/officeart/2005/8/layout/list1"/>
    <dgm:cxn modelId="{F8B8D640-2750-4BDD-8139-96C351294FE7}" type="presParOf" srcId="{61667292-4872-44C5-BA05-99D042737EDC}" destId="{205E545E-8C0E-4548-8455-095614BDBBF7}" srcOrd="6" destOrd="0" presId="urn:microsoft.com/office/officeart/2005/8/layout/list1"/>
    <dgm:cxn modelId="{88FF4565-BA7C-4910-A74C-64623467E42E}" type="presParOf" srcId="{61667292-4872-44C5-BA05-99D042737EDC}" destId="{21FAB537-0331-43D6-A401-AD537640557D}" srcOrd="7" destOrd="0" presId="urn:microsoft.com/office/officeart/2005/8/layout/list1"/>
    <dgm:cxn modelId="{270ACE5F-9A9A-440B-B8AF-A5AB65B22683}" type="presParOf" srcId="{61667292-4872-44C5-BA05-99D042737EDC}" destId="{7A6B010D-F8E4-4DC0-8787-A964225965D8}" srcOrd="8" destOrd="0" presId="urn:microsoft.com/office/officeart/2005/8/layout/list1"/>
    <dgm:cxn modelId="{F02B2177-37BB-4941-A574-B90042F158B3}" type="presParOf" srcId="{7A6B010D-F8E4-4DC0-8787-A964225965D8}" destId="{357CCA12-42ED-45EC-B024-A2014DAF0495}" srcOrd="0" destOrd="0" presId="urn:microsoft.com/office/officeart/2005/8/layout/list1"/>
    <dgm:cxn modelId="{42DB1D79-8332-439F-BB8F-9CF3A4184D92}" type="presParOf" srcId="{7A6B010D-F8E4-4DC0-8787-A964225965D8}" destId="{BD2ACD34-ED11-406A-9E51-18194DADAD33}" srcOrd="1" destOrd="0" presId="urn:microsoft.com/office/officeart/2005/8/layout/list1"/>
    <dgm:cxn modelId="{A68AC59E-10BD-4847-A60D-B93FC4342AE2}" type="presParOf" srcId="{61667292-4872-44C5-BA05-99D042737EDC}" destId="{359F6015-448D-460D-B0BD-ED5971DE12AE}" srcOrd="9" destOrd="0" presId="urn:microsoft.com/office/officeart/2005/8/layout/list1"/>
    <dgm:cxn modelId="{65E464C4-E72A-4768-8D82-7B7D4AA4EB80}" type="presParOf" srcId="{61667292-4872-44C5-BA05-99D042737EDC}" destId="{1831819A-FC77-48B8-8266-A6FD98064873}"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B2058D1-E6EF-4999-A3F8-544C564E5EFD}"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31D216CC-03E4-4DF6-BCBF-163E37F89D10}">
      <dgm:prSet phldrT="[Text]"/>
      <dgm:spPr>
        <a:solidFill>
          <a:srgbClr val="00B0F0"/>
        </a:solidFill>
      </dgm:spPr>
      <dgm:t>
        <a:bodyPr/>
        <a:lstStyle/>
        <a:p>
          <a:r>
            <a:rPr lang="en-US" dirty="0" smtClean="0"/>
            <a:t>Business / Conceptual</a:t>
          </a:r>
          <a:endParaRPr lang="en-GB" dirty="0"/>
        </a:p>
      </dgm:t>
    </dgm:pt>
    <dgm:pt modelId="{7E873837-932E-445F-A73A-BF86B2526AE6}" type="parTrans" cxnId="{4F0D201C-F9CC-42B4-8D03-F80FBDF457A9}">
      <dgm:prSet/>
      <dgm:spPr/>
      <dgm:t>
        <a:bodyPr/>
        <a:lstStyle/>
        <a:p>
          <a:endParaRPr lang="en-GB"/>
        </a:p>
      </dgm:t>
    </dgm:pt>
    <dgm:pt modelId="{138E361D-6FAB-4FF8-ADF4-F4516F6A8E71}" type="sibTrans" cxnId="{4F0D201C-F9CC-42B4-8D03-F80FBDF457A9}">
      <dgm:prSet/>
      <dgm:spPr/>
      <dgm:t>
        <a:bodyPr/>
        <a:lstStyle/>
        <a:p>
          <a:endParaRPr lang="en-GB"/>
        </a:p>
      </dgm:t>
    </dgm:pt>
    <dgm:pt modelId="{B908169D-D907-464E-A487-1E70706CEEB9}">
      <dgm:prSet phldrT="[Text]"/>
      <dgm:spPr>
        <a:solidFill>
          <a:srgbClr val="FFC000"/>
        </a:solidFill>
      </dgm:spPr>
      <dgm:t>
        <a:bodyPr/>
        <a:lstStyle/>
        <a:p>
          <a:r>
            <a:rPr lang="en-US" dirty="0" smtClean="0"/>
            <a:t>Logical</a:t>
          </a:r>
          <a:endParaRPr lang="en-GB" dirty="0"/>
        </a:p>
      </dgm:t>
    </dgm:pt>
    <dgm:pt modelId="{E82549FB-55EE-4CAC-B551-90B4C78B2461}" type="parTrans" cxnId="{57639691-5991-4162-AFC0-C1DBA646B0D0}">
      <dgm:prSet/>
      <dgm:spPr/>
      <dgm:t>
        <a:bodyPr/>
        <a:lstStyle/>
        <a:p>
          <a:endParaRPr lang="en-GB"/>
        </a:p>
      </dgm:t>
    </dgm:pt>
    <dgm:pt modelId="{DD3DCD93-A70A-4DF3-8C0D-BB1FA87F4482}" type="sibTrans" cxnId="{57639691-5991-4162-AFC0-C1DBA646B0D0}">
      <dgm:prSet/>
      <dgm:spPr/>
      <dgm:t>
        <a:bodyPr/>
        <a:lstStyle/>
        <a:p>
          <a:endParaRPr lang="en-GB"/>
        </a:p>
      </dgm:t>
    </dgm:pt>
    <dgm:pt modelId="{2F5CBAE5-5EC3-4224-A6BB-138D67CDF3CE}">
      <dgm:prSet phldrT="[Text]"/>
      <dgm:spPr>
        <a:solidFill>
          <a:srgbClr val="FFC000"/>
        </a:solidFill>
      </dgm:spPr>
      <dgm:t>
        <a:bodyPr/>
        <a:lstStyle/>
        <a:p>
          <a:r>
            <a:rPr lang="en-US" dirty="0" smtClean="0"/>
            <a:t>Physical</a:t>
          </a:r>
          <a:endParaRPr lang="en-GB" dirty="0"/>
        </a:p>
      </dgm:t>
    </dgm:pt>
    <dgm:pt modelId="{9C329C82-331D-4219-96DB-00AD91B5D384}" type="parTrans" cxnId="{98C63BB3-3AC2-4BF8-9B99-795480FCB0A6}">
      <dgm:prSet/>
      <dgm:spPr/>
      <dgm:t>
        <a:bodyPr/>
        <a:lstStyle/>
        <a:p>
          <a:endParaRPr lang="en-GB"/>
        </a:p>
      </dgm:t>
    </dgm:pt>
    <dgm:pt modelId="{CE67751D-A969-4247-88A7-BB6EC587A80C}" type="sibTrans" cxnId="{98C63BB3-3AC2-4BF8-9B99-795480FCB0A6}">
      <dgm:prSet/>
      <dgm:spPr/>
      <dgm:t>
        <a:bodyPr/>
        <a:lstStyle/>
        <a:p>
          <a:endParaRPr lang="en-GB"/>
        </a:p>
      </dgm:t>
    </dgm:pt>
    <dgm:pt modelId="{7450C7A1-5657-4E2D-9B31-DB72DCC42629}">
      <dgm:prSet phldrT="[Text]"/>
      <dgm:spPr/>
      <dgm:t>
        <a:bodyPr/>
        <a:lstStyle/>
        <a:p>
          <a:r>
            <a:rPr lang="en-US" dirty="0" smtClean="0"/>
            <a:t>Defines financial concepts, e.g., ‘Credit Transfer’ and business processes</a:t>
          </a:r>
          <a:endParaRPr lang="en-GB" dirty="0"/>
        </a:p>
      </dgm:t>
    </dgm:pt>
    <dgm:pt modelId="{B3F11E41-99B4-489D-951F-C3BA77997214}" type="parTrans" cxnId="{39F33FF4-506F-44E4-812C-AABC1C6A3F99}">
      <dgm:prSet/>
      <dgm:spPr/>
      <dgm:t>
        <a:bodyPr/>
        <a:lstStyle/>
        <a:p>
          <a:endParaRPr lang="en-GB"/>
        </a:p>
      </dgm:t>
    </dgm:pt>
    <dgm:pt modelId="{0B2FD13F-C1C7-4866-B57F-83F9663EDB9B}" type="sibTrans" cxnId="{39F33FF4-506F-44E4-812C-AABC1C6A3F99}">
      <dgm:prSet/>
      <dgm:spPr/>
      <dgm:t>
        <a:bodyPr/>
        <a:lstStyle/>
        <a:p>
          <a:endParaRPr lang="en-GB"/>
        </a:p>
      </dgm:t>
    </dgm:pt>
    <dgm:pt modelId="{FD484F28-31CC-4A9E-A036-549A23998571}">
      <dgm:prSet phldrT="[Text]"/>
      <dgm:spPr/>
      <dgm:t>
        <a:bodyPr/>
        <a:lstStyle/>
        <a:p>
          <a:r>
            <a:rPr lang="en-US" dirty="0" smtClean="0"/>
            <a:t>A ‘logical’ implementation’  – defines data and </a:t>
          </a:r>
          <a:r>
            <a:rPr lang="en-US" dirty="0" err="1" smtClean="0"/>
            <a:t>behaviour</a:t>
          </a:r>
          <a:r>
            <a:rPr lang="en-US" dirty="0" smtClean="0"/>
            <a:t> based on new paradigm assumptions</a:t>
          </a:r>
          <a:endParaRPr lang="en-GB" dirty="0"/>
        </a:p>
      </dgm:t>
    </dgm:pt>
    <dgm:pt modelId="{47346289-1EC4-452B-A7F0-B82224E00820}" type="parTrans" cxnId="{1B903CD2-C234-4432-9418-BE33FAD8C40C}">
      <dgm:prSet/>
      <dgm:spPr/>
      <dgm:t>
        <a:bodyPr/>
        <a:lstStyle/>
        <a:p>
          <a:endParaRPr lang="en-GB"/>
        </a:p>
      </dgm:t>
    </dgm:pt>
    <dgm:pt modelId="{4E789BD4-7E0F-478C-B770-957E6181372F}" type="sibTrans" cxnId="{1B903CD2-C234-4432-9418-BE33FAD8C40C}">
      <dgm:prSet/>
      <dgm:spPr/>
      <dgm:t>
        <a:bodyPr/>
        <a:lstStyle/>
        <a:p>
          <a:endParaRPr lang="en-GB"/>
        </a:p>
      </dgm:t>
    </dgm:pt>
    <dgm:pt modelId="{F6AEE943-A7FA-4BB8-84BE-BD6D62DAD733}">
      <dgm:prSet phldrT="[Text]"/>
      <dgm:spPr/>
      <dgm:t>
        <a:bodyPr/>
        <a:lstStyle/>
        <a:p>
          <a:r>
            <a:rPr lang="en-US" dirty="0" smtClean="0"/>
            <a:t>A physical implementation using e.g. </a:t>
          </a:r>
          <a:r>
            <a:rPr lang="en-US" dirty="0" err="1" smtClean="0"/>
            <a:t>Hyperledger</a:t>
          </a:r>
          <a:r>
            <a:rPr lang="en-US" dirty="0" smtClean="0"/>
            <a:t>, </a:t>
          </a:r>
          <a:r>
            <a:rPr lang="en-US" dirty="0" err="1" smtClean="0"/>
            <a:t>Ethereum</a:t>
          </a:r>
          <a:endParaRPr lang="en-GB" dirty="0"/>
        </a:p>
      </dgm:t>
    </dgm:pt>
    <dgm:pt modelId="{DAD2063C-B241-4B7B-9D86-7EAF64BCEE73}" type="parTrans" cxnId="{563A1D77-F6E6-44CF-A23F-ED9ECC81FF84}">
      <dgm:prSet/>
      <dgm:spPr/>
      <dgm:t>
        <a:bodyPr/>
        <a:lstStyle/>
        <a:p>
          <a:endParaRPr lang="en-GB"/>
        </a:p>
      </dgm:t>
    </dgm:pt>
    <dgm:pt modelId="{174EF49E-C9D9-45E2-8783-0974D5C30737}" type="sibTrans" cxnId="{563A1D77-F6E6-44CF-A23F-ED9ECC81FF84}">
      <dgm:prSet/>
      <dgm:spPr/>
      <dgm:t>
        <a:bodyPr/>
        <a:lstStyle/>
        <a:p>
          <a:endParaRPr lang="en-GB"/>
        </a:p>
      </dgm:t>
    </dgm:pt>
    <dgm:pt modelId="{61667292-4872-44C5-BA05-99D042737EDC}" type="pres">
      <dgm:prSet presAssocID="{4B2058D1-E6EF-4999-A3F8-544C564E5EFD}" presName="linear" presStyleCnt="0">
        <dgm:presLayoutVars>
          <dgm:dir/>
          <dgm:animLvl val="lvl"/>
          <dgm:resizeHandles val="exact"/>
        </dgm:presLayoutVars>
      </dgm:prSet>
      <dgm:spPr/>
      <dgm:t>
        <a:bodyPr/>
        <a:lstStyle/>
        <a:p>
          <a:endParaRPr lang="en-GB"/>
        </a:p>
      </dgm:t>
    </dgm:pt>
    <dgm:pt modelId="{DA4D9304-669D-4969-90E6-CFAFCCF4B65F}" type="pres">
      <dgm:prSet presAssocID="{31D216CC-03E4-4DF6-BCBF-163E37F89D10}" presName="parentLin" presStyleCnt="0"/>
      <dgm:spPr/>
    </dgm:pt>
    <dgm:pt modelId="{EF41BBE2-B70B-4ED7-8594-301868582543}" type="pres">
      <dgm:prSet presAssocID="{31D216CC-03E4-4DF6-BCBF-163E37F89D10}" presName="parentLeftMargin" presStyleLbl="node1" presStyleIdx="0" presStyleCnt="3"/>
      <dgm:spPr/>
      <dgm:t>
        <a:bodyPr/>
        <a:lstStyle/>
        <a:p>
          <a:endParaRPr lang="en-GB"/>
        </a:p>
      </dgm:t>
    </dgm:pt>
    <dgm:pt modelId="{27217557-98C3-4DD9-85EF-C2B1A8485ACA}" type="pres">
      <dgm:prSet presAssocID="{31D216CC-03E4-4DF6-BCBF-163E37F89D10}" presName="parentText" presStyleLbl="node1" presStyleIdx="0" presStyleCnt="3">
        <dgm:presLayoutVars>
          <dgm:chMax val="0"/>
          <dgm:bulletEnabled val="1"/>
        </dgm:presLayoutVars>
      </dgm:prSet>
      <dgm:spPr/>
      <dgm:t>
        <a:bodyPr/>
        <a:lstStyle/>
        <a:p>
          <a:endParaRPr lang="en-GB"/>
        </a:p>
      </dgm:t>
    </dgm:pt>
    <dgm:pt modelId="{35D180BC-C775-4CCE-98A0-D78F65C57641}" type="pres">
      <dgm:prSet presAssocID="{31D216CC-03E4-4DF6-BCBF-163E37F89D10}" presName="negativeSpace" presStyleCnt="0"/>
      <dgm:spPr/>
    </dgm:pt>
    <dgm:pt modelId="{DE8CE39E-F6D3-45B2-9A60-06FD023F1A7F}" type="pres">
      <dgm:prSet presAssocID="{31D216CC-03E4-4DF6-BCBF-163E37F89D10}" presName="childText" presStyleLbl="conFgAcc1" presStyleIdx="0" presStyleCnt="3">
        <dgm:presLayoutVars>
          <dgm:bulletEnabled val="1"/>
        </dgm:presLayoutVars>
      </dgm:prSet>
      <dgm:spPr/>
      <dgm:t>
        <a:bodyPr/>
        <a:lstStyle/>
        <a:p>
          <a:endParaRPr lang="en-GB"/>
        </a:p>
      </dgm:t>
    </dgm:pt>
    <dgm:pt modelId="{E4DA68C0-89F2-4E82-8D29-2F79C2217A73}" type="pres">
      <dgm:prSet presAssocID="{138E361D-6FAB-4FF8-ADF4-F4516F6A8E71}" presName="spaceBetweenRectangles" presStyleCnt="0"/>
      <dgm:spPr/>
    </dgm:pt>
    <dgm:pt modelId="{A31FB26C-F3AC-4B98-B3DD-D1E9677368FC}" type="pres">
      <dgm:prSet presAssocID="{B908169D-D907-464E-A487-1E70706CEEB9}" presName="parentLin" presStyleCnt="0"/>
      <dgm:spPr/>
    </dgm:pt>
    <dgm:pt modelId="{0347B5FE-892E-48A0-A742-0410B878A99C}" type="pres">
      <dgm:prSet presAssocID="{B908169D-D907-464E-A487-1E70706CEEB9}" presName="parentLeftMargin" presStyleLbl="node1" presStyleIdx="0" presStyleCnt="3"/>
      <dgm:spPr/>
      <dgm:t>
        <a:bodyPr/>
        <a:lstStyle/>
        <a:p>
          <a:endParaRPr lang="en-GB"/>
        </a:p>
      </dgm:t>
    </dgm:pt>
    <dgm:pt modelId="{824859B4-F9F3-4321-AA63-4DEADB4C304A}" type="pres">
      <dgm:prSet presAssocID="{B908169D-D907-464E-A487-1E70706CEEB9}" presName="parentText" presStyleLbl="node1" presStyleIdx="1" presStyleCnt="3">
        <dgm:presLayoutVars>
          <dgm:chMax val="0"/>
          <dgm:bulletEnabled val="1"/>
        </dgm:presLayoutVars>
      </dgm:prSet>
      <dgm:spPr/>
      <dgm:t>
        <a:bodyPr/>
        <a:lstStyle/>
        <a:p>
          <a:endParaRPr lang="en-GB"/>
        </a:p>
      </dgm:t>
    </dgm:pt>
    <dgm:pt modelId="{F47F551D-F290-4797-B7F8-537199E6ECD9}" type="pres">
      <dgm:prSet presAssocID="{B908169D-D907-464E-A487-1E70706CEEB9}" presName="negativeSpace" presStyleCnt="0"/>
      <dgm:spPr/>
    </dgm:pt>
    <dgm:pt modelId="{205E545E-8C0E-4548-8455-095614BDBBF7}" type="pres">
      <dgm:prSet presAssocID="{B908169D-D907-464E-A487-1E70706CEEB9}" presName="childText" presStyleLbl="conFgAcc1" presStyleIdx="1" presStyleCnt="3">
        <dgm:presLayoutVars>
          <dgm:bulletEnabled val="1"/>
        </dgm:presLayoutVars>
      </dgm:prSet>
      <dgm:spPr/>
      <dgm:t>
        <a:bodyPr/>
        <a:lstStyle/>
        <a:p>
          <a:endParaRPr lang="en-GB"/>
        </a:p>
      </dgm:t>
    </dgm:pt>
    <dgm:pt modelId="{21FAB537-0331-43D6-A401-AD537640557D}" type="pres">
      <dgm:prSet presAssocID="{DD3DCD93-A70A-4DF3-8C0D-BB1FA87F4482}" presName="spaceBetweenRectangles" presStyleCnt="0"/>
      <dgm:spPr/>
    </dgm:pt>
    <dgm:pt modelId="{7A6B010D-F8E4-4DC0-8787-A964225965D8}" type="pres">
      <dgm:prSet presAssocID="{2F5CBAE5-5EC3-4224-A6BB-138D67CDF3CE}" presName="parentLin" presStyleCnt="0"/>
      <dgm:spPr/>
    </dgm:pt>
    <dgm:pt modelId="{357CCA12-42ED-45EC-B024-A2014DAF0495}" type="pres">
      <dgm:prSet presAssocID="{2F5CBAE5-5EC3-4224-A6BB-138D67CDF3CE}" presName="parentLeftMargin" presStyleLbl="node1" presStyleIdx="1" presStyleCnt="3"/>
      <dgm:spPr/>
      <dgm:t>
        <a:bodyPr/>
        <a:lstStyle/>
        <a:p>
          <a:endParaRPr lang="en-GB"/>
        </a:p>
      </dgm:t>
    </dgm:pt>
    <dgm:pt modelId="{BD2ACD34-ED11-406A-9E51-18194DADAD33}" type="pres">
      <dgm:prSet presAssocID="{2F5CBAE5-5EC3-4224-A6BB-138D67CDF3CE}" presName="parentText" presStyleLbl="node1" presStyleIdx="2" presStyleCnt="3">
        <dgm:presLayoutVars>
          <dgm:chMax val="0"/>
          <dgm:bulletEnabled val="1"/>
        </dgm:presLayoutVars>
      </dgm:prSet>
      <dgm:spPr/>
      <dgm:t>
        <a:bodyPr/>
        <a:lstStyle/>
        <a:p>
          <a:endParaRPr lang="en-GB"/>
        </a:p>
      </dgm:t>
    </dgm:pt>
    <dgm:pt modelId="{359F6015-448D-460D-B0BD-ED5971DE12AE}" type="pres">
      <dgm:prSet presAssocID="{2F5CBAE5-5EC3-4224-A6BB-138D67CDF3CE}" presName="negativeSpace" presStyleCnt="0"/>
      <dgm:spPr/>
    </dgm:pt>
    <dgm:pt modelId="{1831819A-FC77-48B8-8266-A6FD98064873}" type="pres">
      <dgm:prSet presAssocID="{2F5CBAE5-5EC3-4224-A6BB-138D67CDF3CE}" presName="childText" presStyleLbl="conFgAcc1" presStyleIdx="2" presStyleCnt="3">
        <dgm:presLayoutVars>
          <dgm:bulletEnabled val="1"/>
        </dgm:presLayoutVars>
      </dgm:prSet>
      <dgm:spPr/>
      <dgm:t>
        <a:bodyPr/>
        <a:lstStyle/>
        <a:p>
          <a:endParaRPr lang="en-GB"/>
        </a:p>
      </dgm:t>
    </dgm:pt>
  </dgm:ptLst>
  <dgm:cxnLst>
    <dgm:cxn modelId="{6D369158-7033-4038-8262-2137F479B7D4}" type="presOf" srcId="{31D216CC-03E4-4DF6-BCBF-163E37F89D10}" destId="{EF41BBE2-B70B-4ED7-8594-301868582543}" srcOrd="0" destOrd="0" presId="urn:microsoft.com/office/officeart/2005/8/layout/list1"/>
    <dgm:cxn modelId="{75DB920C-CE34-4FE2-8D9C-6C9B12B6B292}" type="presOf" srcId="{F6AEE943-A7FA-4BB8-84BE-BD6D62DAD733}" destId="{1831819A-FC77-48B8-8266-A6FD98064873}" srcOrd="0" destOrd="0" presId="urn:microsoft.com/office/officeart/2005/8/layout/list1"/>
    <dgm:cxn modelId="{299E5FC2-6FE2-4D6A-BB97-4CF2CEBE0B68}" type="presOf" srcId="{B908169D-D907-464E-A487-1E70706CEEB9}" destId="{0347B5FE-892E-48A0-A742-0410B878A99C}" srcOrd="0" destOrd="0" presId="urn:microsoft.com/office/officeart/2005/8/layout/list1"/>
    <dgm:cxn modelId="{2EFD1F9C-5B83-427D-87E4-F7700C05C20E}" type="presOf" srcId="{31D216CC-03E4-4DF6-BCBF-163E37F89D10}" destId="{27217557-98C3-4DD9-85EF-C2B1A8485ACA}" srcOrd="1" destOrd="0" presId="urn:microsoft.com/office/officeart/2005/8/layout/list1"/>
    <dgm:cxn modelId="{C20F875D-0B8D-4133-B790-1230D98E5C17}" type="presOf" srcId="{FD484F28-31CC-4A9E-A036-549A23998571}" destId="{205E545E-8C0E-4548-8455-095614BDBBF7}" srcOrd="0" destOrd="0" presId="urn:microsoft.com/office/officeart/2005/8/layout/list1"/>
    <dgm:cxn modelId="{B6E78E89-7BE4-4A93-980D-D3FF7354376B}" type="presOf" srcId="{2F5CBAE5-5EC3-4224-A6BB-138D67CDF3CE}" destId="{BD2ACD34-ED11-406A-9E51-18194DADAD33}" srcOrd="1" destOrd="0" presId="urn:microsoft.com/office/officeart/2005/8/layout/list1"/>
    <dgm:cxn modelId="{843794F0-03C0-4AA6-A740-73BE3315B48D}" type="presOf" srcId="{7450C7A1-5657-4E2D-9B31-DB72DCC42629}" destId="{DE8CE39E-F6D3-45B2-9A60-06FD023F1A7F}" srcOrd="0" destOrd="0" presId="urn:microsoft.com/office/officeart/2005/8/layout/list1"/>
    <dgm:cxn modelId="{49DA7809-6CFB-4079-B46E-2B6FDE109EED}" type="presOf" srcId="{4B2058D1-E6EF-4999-A3F8-544C564E5EFD}" destId="{61667292-4872-44C5-BA05-99D042737EDC}" srcOrd="0" destOrd="0" presId="urn:microsoft.com/office/officeart/2005/8/layout/list1"/>
    <dgm:cxn modelId="{82C6142D-BC1E-4D0F-9810-589F3012588A}" type="presOf" srcId="{B908169D-D907-464E-A487-1E70706CEEB9}" destId="{824859B4-F9F3-4321-AA63-4DEADB4C304A}" srcOrd="1" destOrd="0" presId="urn:microsoft.com/office/officeart/2005/8/layout/list1"/>
    <dgm:cxn modelId="{57639691-5991-4162-AFC0-C1DBA646B0D0}" srcId="{4B2058D1-E6EF-4999-A3F8-544C564E5EFD}" destId="{B908169D-D907-464E-A487-1E70706CEEB9}" srcOrd="1" destOrd="0" parTransId="{E82549FB-55EE-4CAC-B551-90B4C78B2461}" sibTransId="{DD3DCD93-A70A-4DF3-8C0D-BB1FA87F4482}"/>
    <dgm:cxn modelId="{1B903CD2-C234-4432-9418-BE33FAD8C40C}" srcId="{B908169D-D907-464E-A487-1E70706CEEB9}" destId="{FD484F28-31CC-4A9E-A036-549A23998571}" srcOrd="0" destOrd="0" parTransId="{47346289-1EC4-452B-A7F0-B82224E00820}" sibTransId="{4E789BD4-7E0F-478C-B770-957E6181372F}"/>
    <dgm:cxn modelId="{98C63BB3-3AC2-4BF8-9B99-795480FCB0A6}" srcId="{4B2058D1-E6EF-4999-A3F8-544C564E5EFD}" destId="{2F5CBAE5-5EC3-4224-A6BB-138D67CDF3CE}" srcOrd="2" destOrd="0" parTransId="{9C329C82-331D-4219-96DB-00AD91B5D384}" sibTransId="{CE67751D-A969-4247-88A7-BB6EC587A80C}"/>
    <dgm:cxn modelId="{4F0D201C-F9CC-42B4-8D03-F80FBDF457A9}" srcId="{4B2058D1-E6EF-4999-A3F8-544C564E5EFD}" destId="{31D216CC-03E4-4DF6-BCBF-163E37F89D10}" srcOrd="0" destOrd="0" parTransId="{7E873837-932E-445F-A73A-BF86B2526AE6}" sibTransId="{138E361D-6FAB-4FF8-ADF4-F4516F6A8E71}"/>
    <dgm:cxn modelId="{39F33FF4-506F-44E4-812C-AABC1C6A3F99}" srcId="{31D216CC-03E4-4DF6-BCBF-163E37F89D10}" destId="{7450C7A1-5657-4E2D-9B31-DB72DCC42629}" srcOrd="0" destOrd="0" parTransId="{B3F11E41-99B4-489D-951F-C3BA77997214}" sibTransId="{0B2FD13F-C1C7-4866-B57F-83F9663EDB9B}"/>
    <dgm:cxn modelId="{563A1D77-F6E6-44CF-A23F-ED9ECC81FF84}" srcId="{2F5CBAE5-5EC3-4224-A6BB-138D67CDF3CE}" destId="{F6AEE943-A7FA-4BB8-84BE-BD6D62DAD733}" srcOrd="0" destOrd="0" parTransId="{DAD2063C-B241-4B7B-9D86-7EAF64BCEE73}" sibTransId="{174EF49E-C9D9-45E2-8783-0974D5C30737}"/>
    <dgm:cxn modelId="{11B9603B-70B9-4696-BA20-7683F7E0E1B6}" type="presOf" srcId="{2F5CBAE5-5EC3-4224-A6BB-138D67CDF3CE}" destId="{357CCA12-42ED-45EC-B024-A2014DAF0495}" srcOrd="0" destOrd="0" presId="urn:microsoft.com/office/officeart/2005/8/layout/list1"/>
    <dgm:cxn modelId="{30748D16-72FE-459C-ABC7-67374E257BA2}" type="presParOf" srcId="{61667292-4872-44C5-BA05-99D042737EDC}" destId="{DA4D9304-669D-4969-90E6-CFAFCCF4B65F}" srcOrd="0" destOrd="0" presId="urn:microsoft.com/office/officeart/2005/8/layout/list1"/>
    <dgm:cxn modelId="{316B0780-6BBA-402B-9D56-CB1857C64D9B}" type="presParOf" srcId="{DA4D9304-669D-4969-90E6-CFAFCCF4B65F}" destId="{EF41BBE2-B70B-4ED7-8594-301868582543}" srcOrd="0" destOrd="0" presId="urn:microsoft.com/office/officeart/2005/8/layout/list1"/>
    <dgm:cxn modelId="{31964B0A-2CF4-40A1-B1BB-D38AF5AF37E2}" type="presParOf" srcId="{DA4D9304-669D-4969-90E6-CFAFCCF4B65F}" destId="{27217557-98C3-4DD9-85EF-C2B1A8485ACA}" srcOrd="1" destOrd="0" presId="urn:microsoft.com/office/officeart/2005/8/layout/list1"/>
    <dgm:cxn modelId="{AB7C9B9E-4F58-41A3-809B-93C12253F805}" type="presParOf" srcId="{61667292-4872-44C5-BA05-99D042737EDC}" destId="{35D180BC-C775-4CCE-98A0-D78F65C57641}" srcOrd="1" destOrd="0" presId="urn:microsoft.com/office/officeart/2005/8/layout/list1"/>
    <dgm:cxn modelId="{70DD8F37-1103-4EA3-8941-6FFC87B7D11F}" type="presParOf" srcId="{61667292-4872-44C5-BA05-99D042737EDC}" destId="{DE8CE39E-F6D3-45B2-9A60-06FD023F1A7F}" srcOrd="2" destOrd="0" presId="urn:microsoft.com/office/officeart/2005/8/layout/list1"/>
    <dgm:cxn modelId="{C31CFB1D-C3C2-4FC6-9F41-5DF1F8273664}" type="presParOf" srcId="{61667292-4872-44C5-BA05-99D042737EDC}" destId="{E4DA68C0-89F2-4E82-8D29-2F79C2217A73}" srcOrd="3" destOrd="0" presId="urn:microsoft.com/office/officeart/2005/8/layout/list1"/>
    <dgm:cxn modelId="{88899E5E-2BCD-45FE-9525-302E0BCCBF69}" type="presParOf" srcId="{61667292-4872-44C5-BA05-99D042737EDC}" destId="{A31FB26C-F3AC-4B98-B3DD-D1E9677368FC}" srcOrd="4" destOrd="0" presId="urn:microsoft.com/office/officeart/2005/8/layout/list1"/>
    <dgm:cxn modelId="{472967CC-2B43-4E15-AA5A-19AA7E67D1A9}" type="presParOf" srcId="{A31FB26C-F3AC-4B98-B3DD-D1E9677368FC}" destId="{0347B5FE-892E-48A0-A742-0410B878A99C}" srcOrd="0" destOrd="0" presId="urn:microsoft.com/office/officeart/2005/8/layout/list1"/>
    <dgm:cxn modelId="{48CC4DA5-4D31-4725-9B9C-561A6B799FC8}" type="presParOf" srcId="{A31FB26C-F3AC-4B98-B3DD-D1E9677368FC}" destId="{824859B4-F9F3-4321-AA63-4DEADB4C304A}" srcOrd="1" destOrd="0" presId="urn:microsoft.com/office/officeart/2005/8/layout/list1"/>
    <dgm:cxn modelId="{A2B4A6D4-8D2C-4971-A761-9DEE3D36C476}" type="presParOf" srcId="{61667292-4872-44C5-BA05-99D042737EDC}" destId="{F47F551D-F290-4797-B7F8-537199E6ECD9}" srcOrd="5" destOrd="0" presId="urn:microsoft.com/office/officeart/2005/8/layout/list1"/>
    <dgm:cxn modelId="{7E697A9F-8BD7-421E-A053-41B26116E9DC}" type="presParOf" srcId="{61667292-4872-44C5-BA05-99D042737EDC}" destId="{205E545E-8C0E-4548-8455-095614BDBBF7}" srcOrd="6" destOrd="0" presId="urn:microsoft.com/office/officeart/2005/8/layout/list1"/>
    <dgm:cxn modelId="{DC95238E-4C04-47C8-9862-8EEB3BAFD769}" type="presParOf" srcId="{61667292-4872-44C5-BA05-99D042737EDC}" destId="{21FAB537-0331-43D6-A401-AD537640557D}" srcOrd="7" destOrd="0" presId="urn:microsoft.com/office/officeart/2005/8/layout/list1"/>
    <dgm:cxn modelId="{0C63C3CA-C4DB-4271-91C7-AE1659FD4DE7}" type="presParOf" srcId="{61667292-4872-44C5-BA05-99D042737EDC}" destId="{7A6B010D-F8E4-4DC0-8787-A964225965D8}" srcOrd="8" destOrd="0" presId="urn:microsoft.com/office/officeart/2005/8/layout/list1"/>
    <dgm:cxn modelId="{808AA183-ABCE-407F-9A21-AA5BC212767D}" type="presParOf" srcId="{7A6B010D-F8E4-4DC0-8787-A964225965D8}" destId="{357CCA12-42ED-45EC-B024-A2014DAF0495}" srcOrd="0" destOrd="0" presId="urn:microsoft.com/office/officeart/2005/8/layout/list1"/>
    <dgm:cxn modelId="{21B7328A-5E97-4EDF-A442-872ADA1F369F}" type="presParOf" srcId="{7A6B010D-F8E4-4DC0-8787-A964225965D8}" destId="{BD2ACD34-ED11-406A-9E51-18194DADAD33}" srcOrd="1" destOrd="0" presId="urn:microsoft.com/office/officeart/2005/8/layout/list1"/>
    <dgm:cxn modelId="{D846282D-3BD1-43EB-842B-14FEF9A9348C}" type="presParOf" srcId="{61667292-4872-44C5-BA05-99D042737EDC}" destId="{359F6015-448D-460D-B0BD-ED5971DE12AE}" srcOrd="9" destOrd="0" presId="urn:microsoft.com/office/officeart/2005/8/layout/list1"/>
    <dgm:cxn modelId="{BD0BC1FC-8931-49DF-9962-8654CFFCE4EB}" type="presParOf" srcId="{61667292-4872-44C5-BA05-99D042737EDC}" destId="{1831819A-FC77-48B8-8266-A6FD98064873}"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CE39E-F6D3-45B2-9A60-06FD023F1A7F}">
      <dsp:nvSpPr>
        <dsp:cNvPr id="0" name=""/>
        <dsp:cNvSpPr/>
      </dsp:nvSpPr>
      <dsp:spPr>
        <a:xfrm>
          <a:off x="0" y="247624"/>
          <a:ext cx="3672403" cy="60637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Defines financial concepts, e.g., ‘Credit Transfer’ and business processes</a:t>
          </a:r>
          <a:endParaRPr lang="en-GB" sz="1100" kern="1200" dirty="0"/>
        </a:p>
      </dsp:txBody>
      <dsp:txXfrm>
        <a:off x="0" y="247624"/>
        <a:ext cx="3672403" cy="606375"/>
      </dsp:txXfrm>
    </dsp:sp>
    <dsp:sp modelId="{27217557-98C3-4DD9-85EF-C2B1A8485ACA}">
      <dsp:nvSpPr>
        <dsp:cNvPr id="0" name=""/>
        <dsp:cNvSpPr/>
      </dsp:nvSpPr>
      <dsp:spPr>
        <a:xfrm>
          <a:off x="183620" y="85264"/>
          <a:ext cx="2570682" cy="324720"/>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Business / Conceptual</a:t>
          </a:r>
          <a:endParaRPr lang="en-GB" sz="1100" kern="1200" dirty="0"/>
        </a:p>
      </dsp:txBody>
      <dsp:txXfrm>
        <a:off x="199472" y="101116"/>
        <a:ext cx="2538978" cy="293016"/>
      </dsp:txXfrm>
    </dsp:sp>
    <dsp:sp modelId="{205E545E-8C0E-4548-8455-095614BDBBF7}">
      <dsp:nvSpPr>
        <dsp:cNvPr id="0" name=""/>
        <dsp:cNvSpPr/>
      </dsp:nvSpPr>
      <dsp:spPr>
        <a:xfrm>
          <a:off x="0" y="1075759"/>
          <a:ext cx="3672403" cy="60637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Defines e.g. credit transfer messages, to serve the business process</a:t>
          </a:r>
          <a:endParaRPr lang="en-GB" sz="1100" kern="1200" dirty="0"/>
        </a:p>
      </dsp:txBody>
      <dsp:txXfrm>
        <a:off x="0" y="1075759"/>
        <a:ext cx="3672403" cy="606375"/>
      </dsp:txXfrm>
    </dsp:sp>
    <dsp:sp modelId="{824859B4-F9F3-4321-AA63-4DEADB4C304A}">
      <dsp:nvSpPr>
        <dsp:cNvPr id="0" name=""/>
        <dsp:cNvSpPr/>
      </dsp:nvSpPr>
      <dsp:spPr>
        <a:xfrm>
          <a:off x="183620" y="913399"/>
          <a:ext cx="2570682" cy="324720"/>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Logical</a:t>
          </a:r>
          <a:endParaRPr lang="en-GB" sz="1100" kern="1200" dirty="0"/>
        </a:p>
      </dsp:txBody>
      <dsp:txXfrm>
        <a:off x="199472" y="929251"/>
        <a:ext cx="2538978" cy="293016"/>
      </dsp:txXfrm>
    </dsp:sp>
    <dsp:sp modelId="{1831819A-FC77-48B8-8266-A6FD98064873}">
      <dsp:nvSpPr>
        <dsp:cNvPr id="0" name=""/>
        <dsp:cNvSpPr/>
      </dsp:nvSpPr>
      <dsp:spPr>
        <a:xfrm>
          <a:off x="0" y="1903894"/>
          <a:ext cx="3672403" cy="459112"/>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Defines physical syntax, e.g. XML</a:t>
          </a:r>
          <a:endParaRPr lang="en-GB" sz="1100" kern="1200" dirty="0"/>
        </a:p>
      </dsp:txBody>
      <dsp:txXfrm>
        <a:off x="0" y="1903894"/>
        <a:ext cx="3672403" cy="459112"/>
      </dsp:txXfrm>
    </dsp:sp>
    <dsp:sp modelId="{BD2ACD34-ED11-406A-9E51-18194DADAD33}">
      <dsp:nvSpPr>
        <dsp:cNvPr id="0" name=""/>
        <dsp:cNvSpPr/>
      </dsp:nvSpPr>
      <dsp:spPr>
        <a:xfrm>
          <a:off x="183620" y="1741534"/>
          <a:ext cx="2570682" cy="324720"/>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Physical</a:t>
          </a:r>
          <a:endParaRPr lang="en-GB" sz="1100" kern="1200" dirty="0"/>
        </a:p>
      </dsp:txBody>
      <dsp:txXfrm>
        <a:off x="199472" y="1757386"/>
        <a:ext cx="2538978" cy="29301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CE39E-F6D3-45B2-9A60-06FD023F1A7F}">
      <dsp:nvSpPr>
        <dsp:cNvPr id="0" name=""/>
        <dsp:cNvSpPr/>
      </dsp:nvSpPr>
      <dsp:spPr>
        <a:xfrm>
          <a:off x="0" y="173993"/>
          <a:ext cx="3672402" cy="60637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Defines financial concepts, e.g., ‘Credit Transfer’ and business processes</a:t>
          </a:r>
          <a:endParaRPr lang="en-GB" sz="1100" kern="1200" dirty="0"/>
        </a:p>
      </dsp:txBody>
      <dsp:txXfrm>
        <a:off x="0" y="173993"/>
        <a:ext cx="3672402" cy="606375"/>
      </dsp:txXfrm>
    </dsp:sp>
    <dsp:sp modelId="{27217557-98C3-4DD9-85EF-C2B1A8485ACA}">
      <dsp:nvSpPr>
        <dsp:cNvPr id="0" name=""/>
        <dsp:cNvSpPr/>
      </dsp:nvSpPr>
      <dsp:spPr>
        <a:xfrm>
          <a:off x="183620" y="11633"/>
          <a:ext cx="2570681" cy="324720"/>
        </a:xfrm>
        <a:prstGeom prst="roundRect">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Business / Conceptual</a:t>
          </a:r>
          <a:endParaRPr lang="en-GB" sz="1100" kern="1200" dirty="0"/>
        </a:p>
      </dsp:txBody>
      <dsp:txXfrm>
        <a:off x="199472" y="27485"/>
        <a:ext cx="2538977" cy="293016"/>
      </dsp:txXfrm>
    </dsp:sp>
    <dsp:sp modelId="{205E545E-8C0E-4548-8455-095614BDBBF7}">
      <dsp:nvSpPr>
        <dsp:cNvPr id="0" name=""/>
        <dsp:cNvSpPr/>
      </dsp:nvSpPr>
      <dsp:spPr>
        <a:xfrm>
          <a:off x="0" y="1002128"/>
          <a:ext cx="3672402" cy="60637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A ‘logical’ implementation’  – defines data and </a:t>
          </a:r>
          <a:r>
            <a:rPr lang="en-US" sz="1100" kern="1200" dirty="0" err="1" smtClean="0"/>
            <a:t>behaviour</a:t>
          </a:r>
          <a:r>
            <a:rPr lang="en-US" sz="1100" kern="1200" dirty="0" smtClean="0"/>
            <a:t> based on new paradigm assumptions</a:t>
          </a:r>
          <a:endParaRPr lang="en-GB" sz="1100" kern="1200" dirty="0"/>
        </a:p>
      </dsp:txBody>
      <dsp:txXfrm>
        <a:off x="0" y="1002128"/>
        <a:ext cx="3672402" cy="606375"/>
      </dsp:txXfrm>
    </dsp:sp>
    <dsp:sp modelId="{824859B4-F9F3-4321-AA63-4DEADB4C304A}">
      <dsp:nvSpPr>
        <dsp:cNvPr id="0" name=""/>
        <dsp:cNvSpPr/>
      </dsp:nvSpPr>
      <dsp:spPr>
        <a:xfrm>
          <a:off x="183620" y="839768"/>
          <a:ext cx="2570681" cy="324720"/>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Logical</a:t>
          </a:r>
          <a:endParaRPr lang="en-GB" sz="1100" kern="1200" dirty="0"/>
        </a:p>
      </dsp:txBody>
      <dsp:txXfrm>
        <a:off x="199472" y="855620"/>
        <a:ext cx="2538977" cy="293016"/>
      </dsp:txXfrm>
    </dsp:sp>
    <dsp:sp modelId="{1831819A-FC77-48B8-8266-A6FD98064873}">
      <dsp:nvSpPr>
        <dsp:cNvPr id="0" name=""/>
        <dsp:cNvSpPr/>
      </dsp:nvSpPr>
      <dsp:spPr>
        <a:xfrm>
          <a:off x="0" y="1830263"/>
          <a:ext cx="3672402" cy="606375"/>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85019" tIns="229108" rIns="285019"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A physical implementation using e.g. </a:t>
          </a:r>
          <a:r>
            <a:rPr lang="en-US" sz="1100" kern="1200" dirty="0" err="1" smtClean="0"/>
            <a:t>Hyperledger</a:t>
          </a:r>
          <a:r>
            <a:rPr lang="en-US" sz="1100" kern="1200" dirty="0" smtClean="0"/>
            <a:t>, </a:t>
          </a:r>
          <a:r>
            <a:rPr lang="en-US" sz="1100" kern="1200" dirty="0" err="1" smtClean="0"/>
            <a:t>Ethereum</a:t>
          </a:r>
          <a:endParaRPr lang="en-GB" sz="1100" kern="1200" dirty="0"/>
        </a:p>
      </dsp:txBody>
      <dsp:txXfrm>
        <a:off x="0" y="1830263"/>
        <a:ext cx="3672402" cy="606375"/>
      </dsp:txXfrm>
    </dsp:sp>
    <dsp:sp modelId="{BD2ACD34-ED11-406A-9E51-18194DADAD33}">
      <dsp:nvSpPr>
        <dsp:cNvPr id="0" name=""/>
        <dsp:cNvSpPr/>
      </dsp:nvSpPr>
      <dsp:spPr>
        <a:xfrm>
          <a:off x="183620" y="1667903"/>
          <a:ext cx="2570681" cy="324720"/>
        </a:xfrm>
        <a:prstGeom prst="roundRect">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Physical</a:t>
          </a:r>
          <a:endParaRPr lang="en-GB" sz="1100" kern="1200" dirty="0"/>
        </a:p>
      </dsp:txBody>
      <dsp:txXfrm>
        <a:off x="199472" y="1683755"/>
        <a:ext cx="2538977" cy="29301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650" name="Rectangle 2"/>
          <p:cNvSpPr>
            <a:spLocks noGrp="1" noChangeArrowheads="1"/>
          </p:cNvSpPr>
          <p:nvPr>
            <p:ph type="hdr" sz="quarter"/>
          </p:nvPr>
        </p:nvSpPr>
        <p:spPr bwMode="auto">
          <a:xfrm>
            <a:off x="1" y="0"/>
            <a:ext cx="2945764" cy="496332"/>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27651" name="Rectangle 3"/>
          <p:cNvSpPr>
            <a:spLocks noGrp="1" noChangeArrowheads="1"/>
          </p:cNvSpPr>
          <p:nvPr>
            <p:ph type="dt" sz="quarter" idx="1"/>
          </p:nvPr>
        </p:nvSpPr>
        <p:spPr bwMode="auto">
          <a:xfrm>
            <a:off x="3851912" y="0"/>
            <a:ext cx="2945763" cy="496332"/>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27652" name="Rectangle 4"/>
          <p:cNvSpPr>
            <a:spLocks noGrp="1" noChangeArrowheads="1"/>
          </p:cNvSpPr>
          <p:nvPr>
            <p:ph type="ftr" sz="quarter" idx="2"/>
          </p:nvPr>
        </p:nvSpPr>
        <p:spPr bwMode="auto">
          <a:xfrm>
            <a:off x="1" y="9430306"/>
            <a:ext cx="2945764" cy="496332"/>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Tree>
    <p:extLst>
      <p:ext uri="{BB962C8B-B14F-4D97-AF65-F5344CB8AC3E}">
        <p14:creationId xmlns:p14="http://schemas.microsoft.com/office/powerpoint/2010/main" val="224399056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0"/>
            <a:ext cx="2945764" cy="496332"/>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defTabSz="958850">
              <a:defRPr sz="1300">
                <a:latin typeface="Times New Roman" pitchFamily="18" charset="0"/>
              </a:defRPr>
            </a:lvl1pPr>
          </a:lstStyle>
          <a:p>
            <a:endParaRPr lang="en-GB"/>
          </a:p>
        </p:txBody>
      </p:sp>
      <p:sp>
        <p:nvSpPr>
          <p:cNvPr id="3075" name="Rectangle 3"/>
          <p:cNvSpPr>
            <a:spLocks noGrp="1" noChangeArrowheads="1"/>
          </p:cNvSpPr>
          <p:nvPr>
            <p:ph type="dt" idx="1"/>
          </p:nvPr>
        </p:nvSpPr>
        <p:spPr bwMode="auto">
          <a:xfrm>
            <a:off x="3851912" y="0"/>
            <a:ext cx="2945763" cy="496332"/>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lvl1pPr algn="r" defTabSz="958850">
              <a:defRPr sz="1300">
                <a:latin typeface="Times New Roman" pitchFamily="18" charset="0"/>
              </a:defRPr>
            </a:lvl1pPr>
          </a:lstStyle>
          <a:p>
            <a:endParaRPr lang="en-GB"/>
          </a:p>
        </p:txBody>
      </p:sp>
      <p:sp>
        <p:nvSpPr>
          <p:cNvPr id="3076"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a:effectLst/>
        </p:spPr>
      </p:sp>
      <p:sp>
        <p:nvSpPr>
          <p:cNvPr id="3077" name="Rectangle 5"/>
          <p:cNvSpPr>
            <a:spLocks noGrp="1" noChangeArrowheads="1"/>
          </p:cNvSpPr>
          <p:nvPr>
            <p:ph type="body" sz="quarter" idx="3"/>
          </p:nvPr>
        </p:nvSpPr>
        <p:spPr bwMode="auto">
          <a:xfrm>
            <a:off x="906148" y="4715153"/>
            <a:ext cx="4985380" cy="4466987"/>
          </a:xfrm>
          <a:prstGeom prst="rect">
            <a:avLst/>
          </a:prstGeom>
          <a:noFill/>
          <a:ln w="9525">
            <a:noFill/>
            <a:miter lim="800000"/>
            <a:headEnd/>
            <a:tailEnd/>
          </a:ln>
          <a:effectLst/>
        </p:spPr>
        <p:txBody>
          <a:bodyPr vert="horz" wrap="square" lIns="95939" tIns="47969" rIns="95939" bIns="47969" numCol="1" anchor="t" anchorCtr="0" compatLnSpc="1">
            <a:prstTxWarp prst="textNoShape">
              <a:avLst/>
            </a:prstTxWarp>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p>
        </p:txBody>
      </p:sp>
      <p:sp>
        <p:nvSpPr>
          <p:cNvPr id="3078" name="Rectangle 6"/>
          <p:cNvSpPr>
            <a:spLocks noGrp="1" noChangeArrowheads="1"/>
          </p:cNvSpPr>
          <p:nvPr>
            <p:ph type="ftr" sz="quarter" idx="4"/>
          </p:nvPr>
        </p:nvSpPr>
        <p:spPr bwMode="auto">
          <a:xfrm>
            <a:off x="1" y="9430306"/>
            <a:ext cx="2945764" cy="496332"/>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defTabSz="958850">
              <a:defRPr sz="1300">
                <a:latin typeface="Times New Roman" pitchFamily="18" charset="0"/>
              </a:defRPr>
            </a:lvl1pPr>
          </a:lstStyle>
          <a:p>
            <a:endParaRPr lang="en-GB"/>
          </a:p>
        </p:txBody>
      </p:sp>
      <p:sp>
        <p:nvSpPr>
          <p:cNvPr id="3079" name="Rectangle 7"/>
          <p:cNvSpPr>
            <a:spLocks noGrp="1" noChangeArrowheads="1"/>
          </p:cNvSpPr>
          <p:nvPr>
            <p:ph type="sldNum" sz="quarter" idx="5"/>
          </p:nvPr>
        </p:nvSpPr>
        <p:spPr bwMode="auto">
          <a:xfrm>
            <a:off x="3851912" y="9430306"/>
            <a:ext cx="2945763" cy="496332"/>
          </a:xfrm>
          <a:prstGeom prst="rect">
            <a:avLst/>
          </a:prstGeom>
          <a:noFill/>
          <a:ln w="9525">
            <a:noFill/>
            <a:miter lim="800000"/>
            <a:headEnd/>
            <a:tailEnd/>
          </a:ln>
          <a:effectLst/>
        </p:spPr>
        <p:txBody>
          <a:bodyPr vert="horz" wrap="square" lIns="95939" tIns="47969" rIns="95939" bIns="47969" numCol="1" anchor="b" anchorCtr="0" compatLnSpc="1">
            <a:prstTxWarp prst="textNoShape">
              <a:avLst/>
            </a:prstTxWarp>
          </a:bodyPr>
          <a:lstStyle>
            <a:lvl1pPr algn="r" defTabSz="958850">
              <a:defRPr sz="1300">
                <a:latin typeface="Times New Roman" pitchFamily="18" charset="0"/>
              </a:defRPr>
            </a:lvl1pPr>
          </a:lstStyle>
          <a:p>
            <a:fld id="{CF25249E-1E51-4E7D-A7EE-849F86720824}" type="slidenum">
              <a:rPr lang="en-GB"/>
              <a:pPr/>
              <a:t>‹#›</a:t>
            </a:fld>
            <a:endParaRPr lang="en-GB"/>
          </a:p>
        </p:txBody>
      </p:sp>
    </p:spTree>
    <p:extLst>
      <p:ext uri="{BB962C8B-B14F-4D97-AF65-F5344CB8AC3E}">
        <p14:creationId xmlns:p14="http://schemas.microsoft.com/office/powerpoint/2010/main" val="2820380051"/>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400" kern="1200">
        <a:solidFill>
          <a:schemeClr val="tx1"/>
        </a:solidFill>
        <a:latin typeface="Times New Roman" pitchFamily="18" charset="0"/>
        <a:ea typeface="+mn-ea"/>
        <a:cs typeface="+mn-cs"/>
      </a:defRPr>
    </a:lvl1pPr>
    <a:lvl2pPr marL="539856" algn="l" rtl="0" fontAlgn="base">
      <a:spcBef>
        <a:spcPct val="30000"/>
      </a:spcBef>
      <a:spcAft>
        <a:spcPct val="0"/>
      </a:spcAft>
      <a:defRPr sz="1400" kern="1200">
        <a:solidFill>
          <a:schemeClr val="tx1"/>
        </a:solidFill>
        <a:latin typeface="Times New Roman" pitchFamily="18" charset="0"/>
        <a:ea typeface="+mn-ea"/>
        <a:cs typeface="+mn-cs"/>
      </a:defRPr>
    </a:lvl2pPr>
    <a:lvl3pPr marL="1079708" algn="l" rtl="0" fontAlgn="base">
      <a:spcBef>
        <a:spcPct val="30000"/>
      </a:spcBef>
      <a:spcAft>
        <a:spcPct val="0"/>
      </a:spcAft>
      <a:defRPr sz="1400" kern="1200">
        <a:solidFill>
          <a:schemeClr val="tx1"/>
        </a:solidFill>
        <a:latin typeface="Times New Roman" pitchFamily="18" charset="0"/>
        <a:ea typeface="+mn-ea"/>
        <a:cs typeface="+mn-cs"/>
      </a:defRPr>
    </a:lvl3pPr>
    <a:lvl4pPr marL="1619564" algn="l" rtl="0" fontAlgn="base">
      <a:spcBef>
        <a:spcPct val="30000"/>
      </a:spcBef>
      <a:spcAft>
        <a:spcPct val="0"/>
      </a:spcAft>
      <a:defRPr sz="1400" kern="1200">
        <a:solidFill>
          <a:schemeClr val="tx1"/>
        </a:solidFill>
        <a:latin typeface="Times New Roman" pitchFamily="18" charset="0"/>
        <a:ea typeface="+mn-ea"/>
        <a:cs typeface="+mn-cs"/>
      </a:defRPr>
    </a:lvl4pPr>
    <a:lvl5pPr marL="2159418" algn="l" rtl="0" fontAlgn="base">
      <a:spcBef>
        <a:spcPct val="30000"/>
      </a:spcBef>
      <a:spcAft>
        <a:spcPct val="0"/>
      </a:spcAft>
      <a:defRPr sz="1400" kern="1200">
        <a:solidFill>
          <a:schemeClr val="tx1"/>
        </a:solidFill>
        <a:latin typeface="Times New Roman" pitchFamily="18" charset="0"/>
        <a:ea typeface="+mn-ea"/>
        <a:cs typeface="+mn-cs"/>
      </a:defRPr>
    </a:lvl5pPr>
    <a:lvl6pPr marL="2699273" algn="l" defTabSz="1079708" rtl="0" eaLnBrk="1" latinLnBrk="0" hangingPunct="1">
      <a:defRPr sz="1400" kern="1200">
        <a:solidFill>
          <a:schemeClr val="tx1"/>
        </a:solidFill>
        <a:latin typeface="+mn-lt"/>
        <a:ea typeface="+mn-ea"/>
        <a:cs typeface="+mn-cs"/>
      </a:defRPr>
    </a:lvl6pPr>
    <a:lvl7pPr marL="3239127" algn="l" defTabSz="1079708" rtl="0" eaLnBrk="1" latinLnBrk="0" hangingPunct="1">
      <a:defRPr sz="1400" kern="1200">
        <a:solidFill>
          <a:schemeClr val="tx1"/>
        </a:solidFill>
        <a:latin typeface="+mn-lt"/>
        <a:ea typeface="+mn-ea"/>
        <a:cs typeface="+mn-cs"/>
      </a:defRPr>
    </a:lvl7pPr>
    <a:lvl8pPr marL="3778982" algn="l" defTabSz="1079708" rtl="0" eaLnBrk="1" latinLnBrk="0" hangingPunct="1">
      <a:defRPr sz="1400" kern="1200">
        <a:solidFill>
          <a:schemeClr val="tx1"/>
        </a:solidFill>
        <a:latin typeface="+mn-lt"/>
        <a:ea typeface="+mn-ea"/>
        <a:cs typeface="+mn-cs"/>
      </a:defRPr>
    </a:lvl8pPr>
    <a:lvl9pPr marL="4318837" algn="l" defTabSz="1079708" rtl="0" eaLnBrk="1" latinLnBrk="0" hangingPunct="1">
      <a:defRPr sz="1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Opening slide">
    <p:spTree>
      <p:nvGrpSpPr>
        <p:cNvPr id="1" name=""/>
        <p:cNvGrpSpPr/>
        <p:nvPr/>
      </p:nvGrpSpPr>
      <p:grpSpPr>
        <a:xfrm>
          <a:off x="0" y="0"/>
          <a:ext cx="0" cy="0"/>
          <a:chOff x="0" y="0"/>
          <a:chExt cx="0" cy="0"/>
        </a:xfrm>
      </p:grpSpPr>
      <p:sp>
        <p:nvSpPr>
          <p:cNvPr id="25" name="Rectangle 24"/>
          <p:cNvSpPr/>
          <p:nvPr userDrawn="1"/>
        </p:nvSpPr>
        <p:spPr bwMode="auto">
          <a:xfrm>
            <a:off x="-395"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67" tIns="53983" rIns="107967" bIns="53983" numCol="1" rtlCol="0" anchor="t" anchorCtr="0" compatLnSpc="1">
            <a:prstTxWarp prst="textNoShape">
              <a:avLst/>
            </a:prstTxWarp>
          </a:bodyPr>
          <a:lstStyle/>
          <a:p>
            <a:pPr defTabSz="1079676"/>
            <a:endParaRPr lang="en-GB"/>
          </a:p>
        </p:txBody>
      </p:sp>
      <p:sp>
        <p:nvSpPr>
          <p:cNvPr id="26" name="Title"/>
          <p:cNvSpPr>
            <a:spLocks noGrp="1" noChangeArrowheads="1"/>
          </p:cNvSpPr>
          <p:nvPr>
            <p:ph type="ctrTitle" hasCustomPrompt="1"/>
          </p:nvPr>
        </p:nvSpPr>
        <p:spPr>
          <a:xfrm>
            <a:off x="2598932" y="1484271"/>
            <a:ext cx="7053033" cy="2274284"/>
          </a:xfrm>
        </p:spPr>
        <p:txBody>
          <a:bodyPr/>
          <a:lstStyle>
            <a:lvl1pPr>
              <a:defRPr sz="4000" baseline="0">
                <a:solidFill>
                  <a:schemeClr val="bg1"/>
                </a:solidFill>
                <a:latin typeface="+mn-lt"/>
              </a:defRPr>
            </a:lvl1pPr>
          </a:lstStyle>
          <a:p>
            <a:r>
              <a:rPr lang="en-US" dirty="0" smtClean="0"/>
              <a:t>Keep your title short </a:t>
            </a:r>
            <a:br>
              <a:rPr lang="en-US" dirty="0" smtClean="0"/>
            </a:br>
            <a:r>
              <a:rPr lang="en-US" dirty="0" smtClean="0"/>
              <a:t>and concise,</a:t>
            </a:r>
            <a:br>
              <a:rPr lang="en-US" dirty="0" smtClean="0"/>
            </a:br>
            <a:r>
              <a:rPr lang="en-US" dirty="0" smtClean="0"/>
              <a:t>maximum 3 lines</a:t>
            </a:r>
            <a:endParaRPr lang="en-GB" dirty="0"/>
          </a:p>
        </p:txBody>
      </p:sp>
      <p:sp>
        <p:nvSpPr>
          <p:cNvPr id="28" name="Text Placeholder 4"/>
          <p:cNvSpPr>
            <a:spLocks noGrp="1"/>
          </p:cNvSpPr>
          <p:nvPr>
            <p:ph type="body" sz="quarter" idx="12" hasCustomPrompt="1"/>
          </p:nvPr>
        </p:nvSpPr>
        <p:spPr>
          <a:xfrm>
            <a:off x="2592364" y="4898443"/>
            <a:ext cx="2666587" cy="406035"/>
          </a:xfrm>
        </p:spPr>
        <p:txBody>
          <a:bodyPr/>
          <a:lstStyle>
            <a:lvl1pPr>
              <a:defRPr sz="12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Date Month (written), Year</a:t>
            </a:r>
            <a:endParaRPr lang="en-GB" dirty="0"/>
          </a:p>
        </p:txBody>
      </p:sp>
      <p:sp>
        <p:nvSpPr>
          <p:cNvPr id="30" name="Text Placeholder 4"/>
          <p:cNvSpPr>
            <a:spLocks noGrp="1"/>
          </p:cNvSpPr>
          <p:nvPr>
            <p:ph type="body" sz="quarter" idx="13" hasCustomPrompt="1"/>
          </p:nvPr>
        </p:nvSpPr>
        <p:spPr>
          <a:xfrm>
            <a:off x="2592366" y="3818323"/>
            <a:ext cx="7059050" cy="622059"/>
          </a:xfrm>
        </p:spPr>
        <p:txBody>
          <a:bodyPr/>
          <a:lstStyle>
            <a:lvl1pPr>
              <a:defRPr sz="1800" b="0" baseline="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Speaker</a:t>
            </a:r>
            <a:endParaRPr lang="en-GB" dirty="0"/>
          </a:p>
        </p:txBody>
      </p:sp>
      <p:grpSp>
        <p:nvGrpSpPr>
          <p:cNvPr id="7" name="Group 6"/>
          <p:cNvGrpSpPr/>
          <p:nvPr userDrawn="1"/>
        </p:nvGrpSpPr>
        <p:grpSpPr>
          <a:xfrm>
            <a:off x="953403" y="1382291"/>
            <a:ext cx="1027123" cy="1028938"/>
            <a:chOff x="1230313" y="1433513"/>
            <a:chExt cx="898525" cy="900113"/>
          </a:xfrm>
        </p:grpSpPr>
        <p:sp>
          <p:nvSpPr>
            <p:cNvPr id="8" name="Freeform 7"/>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4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8" name="Text Placeholder 2"/>
          <p:cNvSpPr>
            <a:spLocks noGrp="1"/>
          </p:cNvSpPr>
          <p:nvPr>
            <p:ph type="body" idx="13" hasCustomPrompt="1"/>
          </p:nvPr>
        </p:nvSpPr>
        <p:spPr>
          <a:xfrm>
            <a:off x="2907998" y="1022253"/>
            <a:ext cx="2448272"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smtClean="0"/>
              <a:t>standardised</a:t>
            </a:r>
            <a:r>
              <a:rPr lang="en-US" dirty="0" smtClean="0"/>
              <a:t> financial messages. This activity involves the secure exchange of proprietary data while ensuring its confidentiality and integrity. </a:t>
            </a:r>
            <a:endParaRPr lang="en-GB" dirty="0" smtClean="0"/>
          </a:p>
          <a:p>
            <a:endParaRPr lang="en-GB" dirty="0"/>
          </a:p>
        </p:txBody>
      </p:sp>
      <p:sp>
        <p:nvSpPr>
          <p:cNvPr id="9" name="Text Placeholder 2"/>
          <p:cNvSpPr>
            <a:spLocks noGrp="1"/>
          </p:cNvSpPr>
          <p:nvPr>
            <p:ph type="body" idx="14" hasCustomPrompt="1"/>
          </p:nvPr>
        </p:nvSpPr>
        <p:spPr>
          <a:xfrm>
            <a:off x="5527887" y="1022253"/>
            <a:ext cx="2407256"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smtClean="0"/>
              <a:t>standardised</a:t>
            </a:r>
            <a:r>
              <a:rPr lang="en-US" dirty="0" smtClean="0"/>
              <a:t> financial messages. This activity involves the secure exchange of proprietary data while ensuring its confidentiality and integrity. </a:t>
            </a:r>
            <a:endParaRPr lang="en-GB" dirty="0" smtClean="0"/>
          </a:p>
          <a:p>
            <a:endParaRPr lang="en-GB" dirty="0"/>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smtClean="0"/>
              <a:t>Your title – keep it short, size can vary between 14pt and 24pt</a:t>
            </a:r>
            <a:endParaRPr lang="en-GB" kern="0" dirty="0" smtClean="0"/>
          </a:p>
        </p:txBody>
      </p:sp>
      <p:sp>
        <p:nvSpPr>
          <p:cNvPr id="10" name="Text Placeholder 2"/>
          <p:cNvSpPr>
            <a:spLocks noGrp="1"/>
          </p:cNvSpPr>
          <p:nvPr>
            <p:ph type="body" idx="15" hasCustomPrompt="1"/>
          </p:nvPr>
        </p:nvSpPr>
        <p:spPr>
          <a:xfrm>
            <a:off x="8106759" y="1022253"/>
            <a:ext cx="2407256"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smtClean="0"/>
              <a:t>standardised</a:t>
            </a:r>
            <a:r>
              <a:rPr lang="en-US" dirty="0" smtClean="0"/>
              <a:t> financial messages. This activity involves the secure exchange of proprietary data while ensuring its confidentiality and integrity. </a:t>
            </a:r>
            <a:endParaRPr lang="en-GB" dirty="0" smtClean="0"/>
          </a:p>
          <a:p>
            <a:endParaRPr lang="en-GB" dirty="0"/>
          </a:p>
        </p:txBody>
      </p:sp>
      <p:sp>
        <p:nvSpPr>
          <p:cNvPr id="11" name="Text Placeholder 2"/>
          <p:cNvSpPr>
            <a:spLocks noGrp="1"/>
          </p:cNvSpPr>
          <p:nvPr>
            <p:ph type="body" idx="16" hasCustomPrompt="1"/>
          </p:nvPr>
        </p:nvSpPr>
        <p:spPr>
          <a:xfrm>
            <a:off x="280519" y="1022253"/>
            <a:ext cx="2448272"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smtClean="0"/>
              <a:t>standardised</a:t>
            </a:r>
            <a:r>
              <a:rPr lang="en-US" dirty="0" smtClean="0"/>
              <a:t> financial messages. This activity involves the secure exchange of proprietary data while ensuring its confidentiality and integrity. </a:t>
            </a:r>
            <a:endParaRPr lang="en-GB" dirty="0" smtClean="0"/>
          </a:p>
          <a:p>
            <a:endParaRPr lang="en-GB" dirty="0"/>
          </a:p>
        </p:txBody>
      </p:sp>
    </p:spTree>
    <p:extLst>
      <p:ext uri="{BB962C8B-B14F-4D97-AF65-F5344CB8AC3E}">
        <p14:creationId xmlns:p14="http://schemas.microsoft.com/office/powerpoint/2010/main" val="23266560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or Highlight slide Green">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1"/>
          </p:nvPr>
        </p:nvSpPr>
        <p:spPr>
          <a:xfrm>
            <a:off x="9823253"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6" y="301627"/>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smtClean="0"/>
              <a:t>You can use it as divider or highlight slide. Make it short, clear and pretty. If used as a highlight slide, size of the text should be 35pt. If used as a divider slide, content can be much smaller – 18pt.</a:t>
            </a:r>
          </a:p>
        </p:txBody>
      </p:sp>
      <p:grpSp>
        <p:nvGrpSpPr>
          <p:cNvPr id="8" name="Group 7"/>
          <p:cNvGrpSpPr/>
          <p:nvPr userDrawn="1"/>
        </p:nvGrpSpPr>
        <p:grpSpPr>
          <a:xfrm>
            <a:off x="286421" y="5558757"/>
            <a:ext cx="288363" cy="288873"/>
            <a:chOff x="1230313" y="1433513"/>
            <a:chExt cx="898525" cy="900113"/>
          </a:xfrm>
        </p:grpSpPr>
        <p:sp>
          <p:nvSpPr>
            <p:cNvPr id="9" name="Freeform 8"/>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or Highlight slide Purpl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1"/>
          </p:nvPr>
        </p:nvSpPr>
        <p:spPr>
          <a:xfrm>
            <a:off x="9823253"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6" y="301627"/>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smtClean="0"/>
              <a:t>You can use it as divider or highlight slide. Make it short, clear and pretty. If used as a highlight slide, size of the text should be 35pt. If used as a divider slide, content can be much smaller – 18pt.</a:t>
            </a:r>
          </a:p>
        </p:txBody>
      </p:sp>
      <p:grpSp>
        <p:nvGrpSpPr>
          <p:cNvPr id="15" name="Group 14"/>
          <p:cNvGrpSpPr/>
          <p:nvPr userDrawn="1"/>
        </p:nvGrpSpPr>
        <p:grpSpPr>
          <a:xfrm>
            <a:off x="286421" y="5558757"/>
            <a:ext cx="288363" cy="288873"/>
            <a:chOff x="1230313" y="1433513"/>
            <a:chExt cx="898525" cy="900113"/>
          </a:xfrm>
        </p:grpSpPr>
        <p:sp>
          <p:nvSpPr>
            <p:cNvPr id="16" name="Freeform 15"/>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4502816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or Highlight slide Orange">
    <p:spTree>
      <p:nvGrpSpPr>
        <p:cNvPr id="1" name=""/>
        <p:cNvGrpSpPr/>
        <p:nvPr/>
      </p:nvGrpSpPr>
      <p:grpSpPr>
        <a:xfrm>
          <a:off x="0" y="0"/>
          <a:ext cx="0" cy="0"/>
          <a:chOff x="0" y="0"/>
          <a:chExt cx="0" cy="0"/>
        </a:xfrm>
      </p:grpSpPr>
      <p:sp>
        <p:nvSpPr>
          <p:cNvPr id="6" name="Rectangle 5"/>
          <p:cNvSpPr/>
          <p:nvPr userDrawn="1"/>
        </p:nvSpPr>
        <p:spPr bwMode="auto">
          <a:xfrm>
            <a:off x="0" y="0"/>
            <a:ext cx="10801350" cy="6076950"/>
          </a:xfrm>
          <a:prstGeom prst="rect">
            <a:avLst/>
          </a:prstGeom>
          <a:solidFill>
            <a:schemeClr val="accent5"/>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4" name="Footer Placeholder 3"/>
          <p:cNvSpPr>
            <a:spLocks noGrp="1"/>
          </p:cNvSpPr>
          <p:nvPr>
            <p:ph type="ftr" sz="quarter" idx="10"/>
          </p:nvPr>
        </p:nvSpPr>
        <p:spPr/>
        <p:txBody>
          <a:bodyPr/>
          <a:lstStyle>
            <a:lvl1pPr>
              <a:defRPr>
                <a:solidFill>
                  <a:schemeClr val="bg1"/>
                </a:solidFill>
              </a:defRPr>
            </a:lvl1pPr>
          </a:lstStyle>
          <a:p>
            <a:endParaRPr lang="en-GB" dirty="0"/>
          </a:p>
        </p:txBody>
      </p:sp>
      <p:sp>
        <p:nvSpPr>
          <p:cNvPr id="5" name="Slide Number Placeholder 4"/>
          <p:cNvSpPr>
            <a:spLocks noGrp="1"/>
          </p:cNvSpPr>
          <p:nvPr>
            <p:ph type="sldNum" sz="quarter" idx="11"/>
          </p:nvPr>
        </p:nvSpPr>
        <p:spPr>
          <a:xfrm>
            <a:off x="9823253" y="5592196"/>
            <a:ext cx="762000" cy="228600"/>
          </a:xfrm>
        </p:spPr>
        <p:txBody>
          <a:bodyPr/>
          <a:lstStyle>
            <a:lvl1pPr algn="r">
              <a:defRPr>
                <a:solidFill>
                  <a:schemeClr val="bg1"/>
                </a:solidFill>
              </a:defRPr>
            </a:lvl1pPr>
          </a:lstStyle>
          <a:p>
            <a:fld id="{F17889F7-7963-4A16-ADF8-FEE4D97DC541}" type="slidenum">
              <a:rPr lang="en-GB" smtClean="0"/>
              <a:pPr/>
              <a:t>‹#›</a:t>
            </a:fld>
            <a:endParaRPr lang="en-GB"/>
          </a:p>
        </p:txBody>
      </p:sp>
      <p:sp>
        <p:nvSpPr>
          <p:cNvPr id="7" name="Text Placeholder 4"/>
          <p:cNvSpPr>
            <a:spLocks noGrp="1"/>
          </p:cNvSpPr>
          <p:nvPr>
            <p:ph type="body" sz="quarter" idx="12" hasCustomPrompt="1"/>
          </p:nvPr>
        </p:nvSpPr>
        <p:spPr>
          <a:xfrm>
            <a:off x="279476" y="301627"/>
            <a:ext cx="8649593" cy="4670529"/>
          </a:xfrm>
        </p:spPr>
        <p:txBody>
          <a:bodyPr/>
          <a:lstStyle>
            <a:lvl1pPr>
              <a:defRPr sz="3500" b="1" baseline="0">
                <a:solidFill>
                  <a:schemeClr val="bg1"/>
                </a:solidFill>
              </a:defRPr>
            </a:lvl1pPr>
            <a:lvl2pPr>
              <a:defRPr sz="4000" b="1"/>
            </a:lvl2pPr>
            <a:lvl3pPr>
              <a:defRPr sz="4000" b="1"/>
            </a:lvl3pPr>
            <a:lvl4pPr>
              <a:defRPr sz="4000" b="1"/>
            </a:lvl4pPr>
            <a:lvl5pPr>
              <a:defRPr sz="3500" b="1"/>
            </a:lvl5pPr>
          </a:lstStyle>
          <a:p>
            <a:pPr lvl="0"/>
            <a:r>
              <a:rPr lang="en-US" dirty="0" smtClean="0"/>
              <a:t>You can use it as divider or highlight slide. Make it short, clear and pretty. If used as a highlight slide, size of the text should be 35pt. If used as a divider slide, content can be much smaller – 18pt.</a:t>
            </a:r>
          </a:p>
        </p:txBody>
      </p:sp>
      <p:grpSp>
        <p:nvGrpSpPr>
          <p:cNvPr id="29" name="Group 28"/>
          <p:cNvGrpSpPr/>
          <p:nvPr userDrawn="1"/>
        </p:nvGrpSpPr>
        <p:grpSpPr>
          <a:xfrm>
            <a:off x="286421" y="5558757"/>
            <a:ext cx="288363" cy="288873"/>
            <a:chOff x="1230313" y="1433513"/>
            <a:chExt cx="898525" cy="900113"/>
          </a:xfrm>
        </p:grpSpPr>
        <p:sp>
          <p:nvSpPr>
            <p:cNvPr id="30" name="Freeform 29"/>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95924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Footer Placeholder 3"/>
          <p:cNvSpPr>
            <a:spLocks noGrp="1"/>
          </p:cNvSpPr>
          <p:nvPr>
            <p:ph type="ftr" sz="quarter" idx="3"/>
          </p:nvPr>
        </p:nvSpPr>
        <p:spPr>
          <a:xfrm>
            <a:off x="658295" y="5592196"/>
            <a:ext cx="5678487" cy="228600"/>
          </a:xfrm>
          <a:prstGeom prst="rect">
            <a:avLst/>
          </a:prstGeom>
        </p:spPr>
        <p:txBody>
          <a:bodyPr/>
          <a:lstStyle>
            <a:lvl1pPr>
              <a:defRPr sz="800">
                <a:solidFill>
                  <a:schemeClr val="tx2"/>
                </a:solidFill>
              </a:defRPr>
            </a:lvl1pPr>
          </a:lstStyle>
          <a:p>
            <a:endParaRPr lang="en-GB" dirty="0"/>
          </a:p>
        </p:txBody>
      </p:sp>
      <p:sp>
        <p:nvSpPr>
          <p:cNvPr id="3" name="Slide Number Placeholder 4"/>
          <p:cNvSpPr>
            <a:spLocks noGrp="1"/>
          </p:cNvSpPr>
          <p:nvPr>
            <p:ph type="sldNum" sz="quarter" idx="4"/>
          </p:nvPr>
        </p:nvSpPr>
        <p:spPr>
          <a:xfrm>
            <a:off x="9823253"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sp>
        <p:nvSpPr>
          <p:cNvPr id="4" name="Rectangle 3"/>
          <p:cNvSpPr/>
          <p:nvPr userDrawn="1"/>
        </p:nvSpPr>
        <p:spPr bwMode="auto">
          <a:xfrm>
            <a:off x="0" y="0"/>
            <a:ext cx="10801350" cy="6076950"/>
          </a:xfrm>
          <a:prstGeom prst="rect">
            <a:avLst/>
          </a:prstGeom>
          <a:solidFill>
            <a:schemeClr val="tx2"/>
          </a:solidFill>
          <a:ln w="9525" cap="flat" cmpd="sng" algn="ctr">
            <a:noFill/>
            <a:prstDash val="solid"/>
            <a:round/>
            <a:headEnd type="none" w="med" len="med"/>
            <a:tailEnd type="none" w="med" len="med"/>
          </a:ln>
          <a:effectLst/>
        </p:spPr>
        <p:txBody>
          <a:bodyPr vert="horz" wrap="square" lIns="107970" tIns="53985" rIns="107970" bIns="53985" numCol="1" spcCol="0" rtlCol="0" anchor="t" anchorCtr="0" compatLnSpc="1">
            <a:prstTxWarp prst="textNoShape">
              <a:avLst/>
            </a:prstTxWarp>
          </a:bodyPr>
          <a:lstStyle/>
          <a:p>
            <a:pPr defTabSz="1079708"/>
            <a:endParaRPr lang="en-GB" dirty="0"/>
          </a:p>
        </p:txBody>
      </p:sp>
      <p:sp>
        <p:nvSpPr>
          <p:cNvPr id="5" name="TextBox 4"/>
          <p:cNvSpPr txBox="1"/>
          <p:nvPr userDrawn="1"/>
        </p:nvSpPr>
        <p:spPr>
          <a:xfrm>
            <a:off x="4790676" y="3902573"/>
            <a:ext cx="1220003" cy="276999"/>
          </a:xfrm>
          <a:prstGeom prst="rect">
            <a:avLst/>
          </a:prstGeom>
          <a:noFill/>
          <a:ln>
            <a:noFill/>
          </a:ln>
        </p:spPr>
        <p:txBody>
          <a:bodyPr wrap="square" rtlCol="0">
            <a:spAutoFit/>
          </a:bodyPr>
          <a:lstStyle/>
          <a:p>
            <a:pPr algn="ctr"/>
            <a:r>
              <a:rPr lang="en-GB" sz="1200" dirty="0" smtClean="0">
                <a:solidFill>
                  <a:schemeClr val="bg1"/>
                </a:solidFill>
              </a:rPr>
              <a:t>www.swift.com</a:t>
            </a:r>
            <a:endParaRPr lang="en-GB" sz="1050" dirty="0" smtClean="0">
              <a:solidFill>
                <a:schemeClr val="bg1"/>
              </a:solidFill>
            </a:endParaRPr>
          </a:p>
        </p:txBody>
      </p:sp>
      <p:grpSp>
        <p:nvGrpSpPr>
          <p:cNvPr id="14" name="Group 13"/>
          <p:cNvGrpSpPr/>
          <p:nvPr userDrawn="1"/>
        </p:nvGrpSpPr>
        <p:grpSpPr>
          <a:xfrm>
            <a:off x="4774949" y="2317123"/>
            <a:ext cx="1251449" cy="1253662"/>
            <a:chOff x="1230313" y="1433513"/>
            <a:chExt cx="898525" cy="900113"/>
          </a:xfrm>
        </p:grpSpPr>
        <p:sp>
          <p:nvSpPr>
            <p:cNvPr id="15" name="Freeform 14"/>
            <p:cNvSpPr>
              <a:spLocks noEditPoints="1"/>
            </p:cNvSpPr>
            <p:nvPr userDrawn="1"/>
          </p:nvSpPr>
          <p:spPr bwMode="auto">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7"/>
            <p:cNvSpPr>
              <a:spLocks/>
            </p:cNvSpPr>
            <p:nvPr userDrawn="1"/>
          </p:nvSpPr>
          <p:spPr bwMode="auto">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8"/>
            <p:cNvSpPr>
              <a:spLocks/>
            </p:cNvSpPr>
            <p:nvPr userDrawn="1"/>
          </p:nvSpPr>
          <p:spPr bwMode="auto">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9"/>
            <p:cNvSpPr>
              <a:spLocks/>
            </p:cNvSpPr>
            <p:nvPr userDrawn="1"/>
          </p:nvSpPr>
          <p:spPr bwMode="auto">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30"/>
            <p:cNvSpPr>
              <a:spLocks/>
            </p:cNvSpPr>
            <p:nvPr userDrawn="1"/>
          </p:nvSpPr>
          <p:spPr bwMode="auto">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1"/>
            <p:cNvSpPr>
              <a:spLocks/>
            </p:cNvSpPr>
            <p:nvPr userDrawn="1"/>
          </p:nvSpPr>
          <p:spPr bwMode="auto">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69818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216103" y="518196"/>
            <a:ext cx="2088231" cy="4680520"/>
          </a:xfrm>
          <a:prstGeom prst="rect">
            <a:avLst/>
          </a:prstGeom>
        </p:spPr>
        <p:txBody>
          <a:bodyPr anchor="t"/>
          <a:lstStyle>
            <a:lvl1pPr algn="l">
              <a:defRPr sz="1700" b="1" cap="none">
                <a:latin typeface="+mn-lt"/>
              </a:defRPr>
            </a:lvl1pPr>
          </a:lstStyle>
          <a:p>
            <a:r>
              <a:rPr lang="en-US" dirty="0" smtClean="0"/>
              <a:t>Click to edit master title style</a:t>
            </a:r>
            <a:endParaRPr lang="en-US" dirty="0"/>
          </a:p>
        </p:txBody>
      </p:sp>
      <p:sp>
        <p:nvSpPr>
          <p:cNvPr id="6" name="Text Placeholder 2"/>
          <p:cNvSpPr>
            <a:spLocks noGrp="1"/>
          </p:cNvSpPr>
          <p:nvPr>
            <p:ph type="body" idx="11"/>
          </p:nvPr>
        </p:nvSpPr>
        <p:spPr>
          <a:xfrm>
            <a:off x="2664375" y="518196"/>
            <a:ext cx="7776865" cy="4680520"/>
          </a:xfrm>
          <a:prstGeom prst="rect">
            <a:avLst/>
          </a:prstGeom>
        </p:spPr>
        <p:txBody>
          <a:bodyPr anchor="t" anchorCtr="0"/>
          <a:lstStyle>
            <a:lvl1pPr marL="0" indent="0">
              <a:buFont typeface="Arial" panose="020B0604020202020204" pitchFamily="34" charset="0"/>
              <a:buNone/>
              <a:defRPr sz="1300" b="1" baseline="0"/>
            </a:lvl1pPr>
            <a:lvl2pPr marL="692112" indent="-266197">
              <a:buFont typeface="Arial" panose="020B0604020202020204" pitchFamily="34" charset="0"/>
              <a:buChar char="•"/>
              <a:defRPr sz="1300"/>
            </a:lvl2pPr>
            <a:lvl3pPr marL="1118027" indent="-266197">
              <a:buFont typeface="Courier New" panose="02070309020205020404" pitchFamily="49" charset="0"/>
              <a:buChar char="o"/>
              <a:defRPr sz="1300" baseline="0"/>
            </a:lvl3pPr>
            <a:lvl4pPr marL="1277746" indent="0">
              <a:buFont typeface="+mj-lt"/>
              <a:buNone/>
              <a:defRPr sz="1300"/>
            </a:lvl4pPr>
            <a:lvl5pPr marL="1703661" indent="0">
              <a:buFont typeface="Wingdings" panose="05000000000000000000" pitchFamily="2" charset="2"/>
              <a:buNone/>
              <a:defRPr sz="1300"/>
            </a:lvl5pPr>
            <a:lvl6pPr marL="2129577" indent="0">
              <a:buNone/>
              <a:defRPr sz="1300"/>
            </a:lvl6pPr>
            <a:lvl7pPr marL="2555492" indent="0">
              <a:buNone/>
              <a:defRPr sz="1300"/>
            </a:lvl7pPr>
            <a:lvl8pPr marL="2981406" indent="0">
              <a:buNone/>
              <a:defRPr sz="1300"/>
            </a:lvl8pPr>
            <a:lvl9pPr marL="3407322" indent="0">
              <a:buNone/>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Footer Placeholder 2"/>
          <p:cNvSpPr>
            <a:spLocks noGrp="1"/>
          </p:cNvSpPr>
          <p:nvPr>
            <p:ph type="ftr" sz="quarter" idx="10"/>
          </p:nvPr>
        </p:nvSpPr>
        <p:spPr>
          <a:xfrm>
            <a:off x="792163" y="5820614"/>
            <a:ext cx="7056784" cy="256339"/>
          </a:xfrm>
          <a:prstGeom prst="rect">
            <a:avLst/>
          </a:prstGeom>
        </p:spPr>
        <p:txBody>
          <a:bodyPr lIns="108018" tIns="54009" rIns="108018" bIns="54009"/>
          <a:lstStyle>
            <a:lvl1pPr>
              <a:defRPr sz="900">
                <a:solidFill>
                  <a:schemeClr val="bg2">
                    <a:lumMod val="25000"/>
                  </a:schemeClr>
                </a:solidFill>
              </a:defRPr>
            </a:lvl1pPr>
          </a:lstStyle>
          <a:p>
            <a:endParaRPr lang="en-GB" dirty="0">
              <a:solidFill>
                <a:srgbClr val="EEECE1">
                  <a:lumMod val="25000"/>
                </a:srgbClr>
              </a:solidFill>
            </a:endParaRPr>
          </a:p>
        </p:txBody>
      </p:sp>
      <p:sp>
        <p:nvSpPr>
          <p:cNvPr id="5" name="Slide Number Placeholder 1"/>
          <p:cNvSpPr>
            <a:spLocks noGrp="1"/>
          </p:cNvSpPr>
          <p:nvPr>
            <p:ph type="sldNum" sz="quarter" idx="12"/>
          </p:nvPr>
        </p:nvSpPr>
        <p:spPr>
          <a:xfrm>
            <a:off x="9937182" y="5809982"/>
            <a:ext cx="762000" cy="228599"/>
          </a:xfrm>
          <a:prstGeom prst="rect">
            <a:avLst/>
          </a:prstGeom>
        </p:spPr>
        <p:txBody>
          <a:bodyPr lIns="108018" tIns="54009" rIns="108018" bIns="54009"/>
          <a:lstStyle>
            <a:lvl1pPr algn="r">
              <a:defRPr sz="900">
                <a:solidFill>
                  <a:schemeClr val="bg2">
                    <a:lumMod val="25000"/>
                  </a:schemeClr>
                </a:solidFill>
              </a:defRPr>
            </a:lvl1pPr>
          </a:lstStyle>
          <a:p>
            <a:fld id="{F17889F7-7963-4A16-ADF8-FEE4D97DC541}" type="slidenum">
              <a:rPr lang="en-GB" smtClean="0">
                <a:solidFill>
                  <a:srgbClr val="EEECE1">
                    <a:lumMod val="25000"/>
                  </a:srgbClr>
                </a:solidFill>
              </a:rPr>
              <a:pPr/>
              <a:t>‹#›</a:t>
            </a:fld>
            <a:endParaRPr lang="en-GB" dirty="0">
              <a:solidFill>
                <a:srgbClr val="EEECE1">
                  <a:lumMod val="25000"/>
                </a:srgbClr>
              </a:solidFill>
            </a:endParaRPr>
          </a:p>
        </p:txBody>
      </p:sp>
    </p:spTree>
    <p:extLst>
      <p:ext uri="{BB962C8B-B14F-4D97-AF65-F5344CB8AC3E}">
        <p14:creationId xmlns:p14="http://schemas.microsoft.com/office/powerpoint/2010/main" val="266373482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81297040"/>
              </p:ext>
            </p:extLst>
          </p:nvPr>
        </p:nvGraphicFramePr>
        <p:xfrm>
          <a:off x="1918" y="1439"/>
          <a:ext cx="1912" cy="1435"/>
        </p:xfrm>
        <a:graphic>
          <a:graphicData uri="http://schemas.openxmlformats.org/presentationml/2006/ole">
            <mc:AlternateContent xmlns:mc="http://schemas.openxmlformats.org/markup-compatibility/2006">
              <mc:Choice xmlns:v="urn:schemas-microsoft-com:vml" Requires="v">
                <p:oleObj spid="_x0000_s31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18" y="1439"/>
                        <a:ext cx="1912" cy="1435"/>
                      </a:xfrm>
                      <a:prstGeom prst="rect">
                        <a:avLst/>
                      </a:prstGeom>
                    </p:spPr>
                  </p:pic>
                </p:oleObj>
              </mc:Fallback>
            </mc:AlternateContent>
          </a:graphicData>
        </a:graphic>
      </p:graphicFrame>
      <p:sp>
        <p:nvSpPr>
          <p:cNvPr id="4" name="Working Draft Text" hidden="1"/>
          <p:cNvSpPr txBox="1">
            <a:spLocks noChangeArrowheads="1"/>
          </p:cNvSpPr>
          <p:nvPr/>
        </p:nvSpPr>
        <p:spPr bwMode="auto">
          <a:xfrm>
            <a:off x="1456669" y="1845507"/>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1" dirty="0" smtClean="0">
                <a:solidFill>
                  <a:srgbClr val="FFFFFF"/>
                </a:solidFill>
                <a:latin typeface="Arial"/>
              </a:rPr>
              <a:t>WORKING DRAFT</a:t>
            </a:r>
          </a:p>
        </p:txBody>
      </p:sp>
      <p:sp>
        <p:nvSpPr>
          <p:cNvPr id="6" name="Working Draft" hidden="1"/>
          <p:cNvSpPr txBox="1">
            <a:spLocks noChangeArrowheads="1"/>
          </p:cNvSpPr>
          <p:nvPr/>
        </p:nvSpPr>
        <p:spPr bwMode="auto">
          <a:xfrm>
            <a:off x="1456671" y="1986164"/>
            <a:ext cx="29815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FFFFFF"/>
                </a:solidFill>
                <a:latin typeface="Arial"/>
              </a:rPr>
              <a:t>Last Modified 16.12.2015 17:55 W. Europe Standard Time</a:t>
            </a:r>
            <a:endParaRPr lang="en-GB" sz="900" dirty="0" smtClean="0">
              <a:solidFill>
                <a:srgbClr val="FFFFFF"/>
              </a:solidFill>
              <a:latin typeface="Arial"/>
            </a:endParaRPr>
          </a:p>
        </p:txBody>
      </p:sp>
      <p:sp>
        <p:nvSpPr>
          <p:cNvPr id="7" name="Printed" hidden="1"/>
          <p:cNvSpPr txBox="1">
            <a:spLocks noChangeArrowheads="1"/>
          </p:cNvSpPr>
          <p:nvPr/>
        </p:nvSpPr>
        <p:spPr bwMode="auto">
          <a:xfrm>
            <a:off x="1456668" y="2128258"/>
            <a:ext cx="26609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FFFFFF"/>
                </a:solidFill>
                <a:latin typeface="Arial"/>
              </a:rPr>
              <a:t>Printed 16.12.2015 17:54 W. Europe Standard Time</a:t>
            </a:r>
            <a:endParaRPr lang="en-GB" sz="900" dirty="0" smtClean="0">
              <a:solidFill>
                <a:srgbClr val="FFFFFF"/>
              </a:solidFill>
              <a:latin typeface="Arial"/>
            </a:endParaRPr>
          </a:p>
        </p:txBody>
      </p:sp>
      <p:sp>
        <p:nvSpPr>
          <p:cNvPr id="13314" name="Rectangle 1026"/>
          <p:cNvSpPr>
            <a:spLocks noGrp="1" noChangeArrowheads="1"/>
          </p:cNvSpPr>
          <p:nvPr>
            <p:ph type="ctrTitle"/>
          </p:nvPr>
        </p:nvSpPr>
        <p:spPr bwMode="auto">
          <a:xfrm>
            <a:off x="1456669" y="2373372"/>
            <a:ext cx="7647327" cy="492443"/>
          </a:xfrm>
          <a:prstGeom prst="rect">
            <a:avLst/>
          </a:prstGeom>
        </p:spPr>
        <p:txBody>
          <a:bodyPr wrap="square">
            <a:spAutoFit/>
          </a:bodyPr>
          <a:lstStyle>
            <a:lvl1pPr>
              <a:defRPr sz="3200" b="0" baseline="0">
                <a:solidFill>
                  <a:schemeClr val="bg1"/>
                </a:solidFill>
                <a:latin typeface="+mj-lt"/>
                <a:ea typeface="+mj-ea"/>
              </a:defRPr>
            </a:lvl1pPr>
          </a:lstStyle>
          <a:p>
            <a:pPr lvl="0"/>
            <a:r>
              <a:rPr lang="en-GB" noProof="0" dirty="0" smtClean="0"/>
              <a:t>Click to edit Master title style</a:t>
            </a:r>
          </a:p>
        </p:txBody>
      </p:sp>
      <p:sp>
        <p:nvSpPr>
          <p:cNvPr id="13315" name="Rectangle 1027"/>
          <p:cNvSpPr>
            <a:spLocks noGrp="1" noChangeArrowheads="1"/>
          </p:cNvSpPr>
          <p:nvPr>
            <p:ph type="subTitle" idx="1"/>
          </p:nvPr>
        </p:nvSpPr>
        <p:spPr bwMode="auto">
          <a:xfrm>
            <a:off x="1456669" y="3846756"/>
            <a:ext cx="7647327" cy="215444"/>
          </a:xfrm>
        </p:spPr>
        <p:txBody>
          <a:bodyPr wrap="square">
            <a:spAutoFit/>
          </a:bodyPr>
          <a:lstStyle>
            <a:lvl1pPr>
              <a:defRPr sz="1400" baseline="0">
                <a:solidFill>
                  <a:schemeClr val="bg1"/>
                </a:solidFill>
                <a:latin typeface="+mj-lt"/>
                <a:ea typeface="+mj-ea"/>
              </a:defRPr>
            </a:lvl1pPr>
          </a:lstStyle>
          <a:p>
            <a:pPr lvl="0"/>
            <a:r>
              <a:rPr lang="en-GB" noProof="0" dirty="0" smtClean="0"/>
              <a:t>Click to edit Master subtitle style</a:t>
            </a:r>
          </a:p>
        </p:txBody>
      </p:sp>
      <p:sp>
        <p:nvSpPr>
          <p:cNvPr id="12" name="doc id"/>
          <p:cNvSpPr>
            <a:spLocks noChangeArrowheads="1"/>
          </p:cNvSpPr>
          <p:nvPr userDrawn="1"/>
        </p:nvSpPr>
        <p:spPr bwMode="auto">
          <a:xfrm>
            <a:off x="9790422" y="33012"/>
            <a:ext cx="792163" cy="11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eaLnBrk="1" hangingPunct="1"/>
            <a:endParaRPr lang="en-GB" sz="800" dirty="0">
              <a:solidFill>
                <a:srgbClr val="FFFFFF"/>
              </a:solidFill>
              <a:latin typeface="Arial"/>
            </a:endParaRPr>
          </a:p>
        </p:txBody>
      </p:sp>
      <p:grpSp>
        <p:nvGrpSpPr>
          <p:cNvPr id="13" name="McK Title Elements" hidden="1"/>
          <p:cNvGrpSpPr/>
          <p:nvPr userDrawn="1"/>
        </p:nvGrpSpPr>
        <p:grpSpPr bwMode="auto">
          <a:xfrm>
            <a:off x="1456669" y="5044712"/>
            <a:ext cx="5948874" cy="478252"/>
            <a:chOff x="537729" y="4908383"/>
            <a:chExt cx="4935538" cy="528973"/>
          </a:xfrm>
        </p:grpSpPr>
        <p:sp>
          <p:nvSpPr>
            <p:cNvPr id="14" name="McK Document type"/>
            <p:cNvSpPr txBox="1">
              <a:spLocks noChangeArrowheads="1"/>
            </p:cNvSpPr>
            <p:nvPr/>
          </p:nvSpPr>
          <p:spPr bwMode="auto">
            <a:xfrm>
              <a:off x="537729" y="4908383"/>
              <a:ext cx="4935538" cy="238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solidFill>
                    <a:srgbClr val="FFFFFF"/>
                  </a:solidFill>
                  <a:latin typeface="Arial"/>
                </a:rPr>
                <a:t>Document type</a:t>
              </a:r>
            </a:p>
          </p:txBody>
        </p:sp>
        <p:sp>
          <p:nvSpPr>
            <p:cNvPr id="15" name="McK Date"/>
            <p:cNvSpPr txBox="1">
              <a:spLocks noChangeArrowheads="1"/>
            </p:cNvSpPr>
            <p:nvPr/>
          </p:nvSpPr>
          <p:spPr bwMode="auto">
            <a:xfrm>
              <a:off x="537729" y="5199063"/>
              <a:ext cx="4935538" cy="2382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solidFill>
                    <a:srgbClr val="FFFFFF"/>
                  </a:solidFill>
                  <a:latin typeface="Arial"/>
                </a:rPr>
                <a:t>Date</a:t>
              </a:r>
            </a:p>
          </p:txBody>
        </p:sp>
      </p:grpSp>
      <p:grpSp>
        <p:nvGrpSpPr>
          <p:cNvPr id="18" name="Group 17"/>
          <p:cNvGrpSpPr/>
          <p:nvPr userDrawn="1"/>
        </p:nvGrpSpPr>
        <p:grpSpPr bwMode="invGray">
          <a:xfrm>
            <a:off x="1377356" y="724571"/>
            <a:ext cx="1213289" cy="911753"/>
            <a:chOff x="1230313" y="1433513"/>
            <a:chExt cx="898525" cy="900113"/>
          </a:xfrm>
        </p:grpSpPr>
        <p:sp>
          <p:nvSpPr>
            <p:cNvPr id="19" name="Freeform 18"/>
            <p:cNvSpPr>
              <a:spLocks noEditPoints="1"/>
            </p:cNvSpPr>
            <p:nvPr userDrawn="1"/>
          </p:nvSpPr>
          <p:spPr bwMode="invGray">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0" name="Freeform 27"/>
            <p:cNvSpPr>
              <a:spLocks/>
            </p:cNvSpPr>
            <p:nvPr userDrawn="1"/>
          </p:nvSpPr>
          <p:spPr bwMode="invGray">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1" name="Freeform 28"/>
            <p:cNvSpPr>
              <a:spLocks/>
            </p:cNvSpPr>
            <p:nvPr userDrawn="1"/>
          </p:nvSpPr>
          <p:spPr bwMode="invGray">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2" name="Freeform 29"/>
            <p:cNvSpPr>
              <a:spLocks/>
            </p:cNvSpPr>
            <p:nvPr userDrawn="1"/>
          </p:nvSpPr>
          <p:spPr bwMode="invGray">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3" name="Freeform 30"/>
            <p:cNvSpPr>
              <a:spLocks/>
            </p:cNvSpPr>
            <p:nvPr userDrawn="1"/>
          </p:nvSpPr>
          <p:spPr bwMode="invGray">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4" name="Freeform 31"/>
            <p:cNvSpPr>
              <a:spLocks/>
            </p:cNvSpPr>
            <p:nvPr userDrawn="1"/>
          </p:nvSpPr>
          <p:spPr bwMode="invGray">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grpSp>
    </p:spTree>
    <p:extLst>
      <p:ext uri="{BB962C8B-B14F-4D97-AF65-F5344CB8AC3E}">
        <p14:creationId xmlns:p14="http://schemas.microsoft.com/office/powerpoint/2010/main" val="322466585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206654" y="208115"/>
            <a:ext cx="10388046"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itle style</a:t>
            </a:r>
          </a:p>
        </p:txBody>
      </p:sp>
    </p:spTree>
    <p:extLst>
      <p:ext uri="{BB962C8B-B14F-4D97-AF65-F5344CB8AC3E}">
        <p14:creationId xmlns:p14="http://schemas.microsoft.com/office/powerpoint/2010/main" val="372700289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4032523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40086809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5" y="5592196"/>
            <a:ext cx="5678487" cy="228600"/>
          </a:xfrm>
        </p:spPr>
        <p:txBody>
          <a:bodyPr/>
          <a:lstStyle/>
          <a:p>
            <a:endParaRPr lang="en-GB"/>
          </a:p>
        </p:txBody>
      </p:sp>
      <p:sp>
        <p:nvSpPr>
          <p:cNvPr id="14"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288503" y="301625"/>
            <a:ext cx="8064500" cy="4681538"/>
          </a:xfrm>
        </p:spPr>
        <p:txBody>
          <a:bodyPr/>
          <a:lstStyle>
            <a:lvl1pPr marL="342900" indent="-342900">
              <a:buFont typeface="Arial" panose="020B0604020202020204" pitchFamily="34" charset="0"/>
              <a:buChar char="̶"/>
              <a:defRPr sz="2400" b="1" baseline="0"/>
            </a:lvl1pPr>
            <a:lvl2pPr>
              <a:defRPr sz="1800" b="1"/>
            </a:lvl2pPr>
            <a:lvl3pPr>
              <a:defRPr sz="1800" b="1"/>
            </a:lvl3pPr>
            <a:lvl4pPr>
              <a:defRPr sz="1800" b="1"/>
            </a:lvl4pPr>
            <a:lvl5pPr marL="1214673" indent="0">
              <a:buNone/>
              <a:defRPr sz="3600" b="1"/>
            </a:lvl5pPr>
          </a:lstStyle>
          <a:p>
            <a:r>
              <a:rPr lang="en-US" dirty="0" smtClean="0"/>
              <a:t>This slide can help you create an at a glance slide that can be a summary of your complete presentation. It is equivalent to the table of contents. Make sure you stay clear and short and use from 2 to 7 points. </a:t>
            </a:r>
          </a:p>
        </p:txBody>
      </p:sp>
    </p:spTree>
    <p:extLst>
      <p:ext uri="{BB962C8B-B14F-4D97-AF65-F5344CB8AC3E}">
        <p14:creationId xmlns:p14="http://schemas.microsoft.com/office/powerpoint/2010/main" val="234321586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5734465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24698747"/>
              </p:ext>
            </p:extLst>
          </p:nvPr>
        </p:nvGraphicFramePr>
        <p:xfrm>
          <a:off x="1916" y="1437"/>
          <a:ext cx="1912" cy="1435"/>
        </p:xfrm>
        <a:graphic>
          <a:graphicData uri="http://schemas.openxmlformats.org/presentationml/2006/ole">
            <mc:AlternateContent xmlns:mc="http://schemas.openxmlformats.org/markup-compatibility/2006">
              <mc:Choice xmlns:v="urn:schemas-microsoft-com:vml" Requires="v">
                <p:oleObj spid="_x0000_s51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916" y="1437"/>
                        <a:ext cx="1912" cy="1435"/>
                      </a:xfrm>
                      <a:prstGeom prst="rect">
                        <a:avLst/>
                      </a:prstGeom>
                    </p:spPr>
                  </p:pic>
                </p:oleObj>
              </mc:Fallback>
            </mc:AlternateContent>
          </a:graphicData>
        </a:graphic>
      </p:graphicFrame>
      <p:sp>
        <p:nvSpPr>
          <p:cNvPr id="4" name="Working Draft Text" hidden="1"/>
          <p:cNvSpPr txBox="1">
            <a:spLocks noChangeArrowheads="1"/>
          </p:cNvSpPr>
          <p:nvPr/>
        </p:nvSpPr>
        <p:spPr bwMode="auto">
          <a:xfrm>
            <a:off x="1456669" y="1845507"/>
            <a:ext cx="993862"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900" b="1" dirty="0" smtClean="0">
                <a:solidFill>
                  <a:srgbClr val="FFFFFF"/>
                </a:solidFill>
                <a:latin typeface="Arial"/>
              </a:rPr>
              <a:t>WORKING DRAFT</a:t>
            </a:r>
          </a:p>
        </p:txBody>
      </p:sp>
      <p:sp>
        <p:nvSpPr>
          <p:cNvPr id="6" name="Working Draft" hidden="1"/>
          <p:cNvSpPr txBox="1">
            <a:spLocks noChangeArrowheads="1"/>
          </p:cNvSpPr>
          <p:nvPr/>
        </p:nvSpPr>
        <p:spPr bwMode="auto">
          <a:xfrm>
            <a:off x="1456669" y="1986164"/>
            <a:ext cx="29815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FFFFFF"/>
                </a:solidFill>
                <a:latin typeface="Arial"/>
              </a:rPr>
              <a:t>Last Modified 16.12.2015 17:55 W. Europe Standard Time</a:t>
            </a:r>
            <a:endParaRPr lang="en-GB" sz="900" dirty="0" smtClean="0">
              <a:solidFill>
                <a:srgbClr val="FFFFFF"/>
              </a:solidFill>
              <a:latin typeface="Arial"/>
            </a:endParaRPr>
          </a:p>
        </p:txBody>
      </p:sp>
      <p:sp>
        <p:nvSpPr>
          <p:cNvPr id="7" name="Printed" hidden="1"/>
          <p:cNvSpPr txBox="1">
            <a:spLocks noChangeArrowheads="1"/>
          </p:cNvSpPr>
          <p:nvPr/>
        </p:nvSpPr>
        <p:spPr bwMode="auto">
          <a:xfrm>
            <a:off x="1456668" y="2128258"/>
            <a:ext cx="2660985"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FFFFFF"/>
                </a:solidFill>
                <a:latin typeface="Arial"/>
              </a:rPr>
              <a:t>Printed 16.12.2015 17:54 W. Europe Standard Time</a:t>
            </a:r>
            <a:endParaRPr lang="en-GB" sz="900" dirty="0" smtClean="0">
              <a:solidFill>
                <a:srgbClr val="FFFFFF"/>
              </a:solidFill>
              <a:latin typeface="Arial"/>
            </a:endParaRPr>
          </a:p>
        </p:txBody>
      </p:sp>
      <p:sp>
        <p:nvSpPr>
          <p:cNvPr id="13314" name="Rectangle 1026"/>
          <p:cNvSpPr>
            <a:spLocks noGrp="1" noChangeArrowheads="1"/>
          </p:cNvSpPr>
          <p:nvPr>
            <p:ph type="ctrTitle"/>
          </p:nvPr>
        </p:nvSpPr>
        <p:spPr bwMode="auto">
          <a:xfrm>
            <a:off x="1456669" y="2373370"/>
            <a:ext cx="7647327" cy="492443"/>
          </a:xfrm>
          <a:prstGeom prst="rect">
            <a:avLst/>
          </a:prstGeom>
        </p:spPr>
        <p:txBody>
          <a:bodyPr wrap="square">
            <a:spAutoFit/>
          </a:bodyPr>
          <a:lstStyle>
            <a:lvl1pPr>
              <a:defRPr sz="3200" b="0" baseline="0">
                <a:solidFill>
                  <a:schemeClr val="bg1"/>
                </a:solidFill>
                <a:latin typeface="+mj-lt"/>
                <a:ea typeface="+mj-ea"/>
              </a:defRPr>
            </a:lvl1pPr>
          </a:lstStyle>
          <a:p>
            <a:pPr lvl="0"/>
            <a:r>
              <a:rPr lang="en-GB" noProof="0" dirty="0" smtClean="0"/>
              <a:t>Click to edit Master title style</a:t>
            </a:r>
          </a:p>
        </p:txBody>
      </p:sp>
      <p:sp>
        <p:nvSpPr>
          <p:cNvPr id="13315" name="Rectangle 1027"/>
          <p:cNvSpPr>
            <a:spLocks noGrp="1" noChangeArrowheads="1"/>
          </p:cNvSpPr>
          <p:nvPr>
            <p:ph type="subTitle" idx="1"/>
          </p:nvPr>
        </p:nvSpPr>
        <p:spPr bwMode="auto">
          <a:xfrm>
            <a:off x="1456669" y="3846754"/>
            <a:ext cx="7647327" cy="215444"/>
          </a:xfrm>
        </p:spPr>
        <p:txBody>
          <a:bodyPr wrap="square">
            <a:spAutoFit/>
          </a:bodyPr>
          <a:lstStyle>
            <a:lvl1pPr>
              <a:defRPr sz="1400" baseline="0">
                <a:solidFill>
                  <a:schemeClr val="bg1"/>
                </a:solidFill>
                <a:latin typeface="+mj-lt"/>
                <a:ea typeface="+mj-ea"/>
              </a:defRPr>
            </a:lvl1pPr>
          </a:lstStyle>
          <a:p>
            <a:pPr lvl="0"/>
            <a:r>
              <a:rPr lang="en-GB" noProof="0" dirty="0" smtClean="0"/>
              <a:t>Click to edit Master subtitle style</a:t>
            </a:r>
          </a:p>
        </p:txBody>
      </p:sp>
      <p:sp>
        <p:nvSpPr>
          <p:cNvPr id="12" name="doc id"/>
          <p:cNvSpPr>
            <a:spLocks noChangeArrowheads="1"/>
          </p:cNvSpPr>
          <p:nvPr userDrawn="1"/>
        </p:nvSpPr>
        <p:spPr bwMode="auto">
          <a:xfrm>
            <a:off x="9790421" y="33012"/>
            <a:ext cx="792163" cy="1105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eaLnBrk="1" hangingPunct="1"/>
            <a:endParaRPr lang="en-GB" sz="800" dirty="0">
              <a:solidFill>
                <a:srgbClr val="FFFFFF"/>
              </a:solidFill>
              <a:latin typeface="Arial"/>
            </a:endParaRPr>
          </a:p>
        </p:txBody>
      </p:sp>
      <p:grpSp>
        <p:nvGrpSpPr>
          <p:cNvPr id="13" name="McK Title Elements" hidden="1"/>
          <p:cNvGrpSpPr/>
          <p:nvPr userDrawn="1"/>
        </p:nvGrpSpPr>
        <p:grpSpPr bwMode="auto">
          <a:xfrm>
            <a:off x="1456669" y="5044688"/>
            <a:ext cx="5948874" cy="478253"/>
            <a:chOff x="537729" y="4908381"/>
            <a:chExt cx="4935538" cy="528976"/>
          </a:xfrm>
        </p:grpSpPr>
        <p:sp>
          <p:nvSpPr>
            <p:cNvPr id="14" name="McK Document type"/>
            <p:cNvSpPr txBox="1">
              <a:spLocks noChangeArrowheads="1"/>
            </p:cNvSpPr>
            <p:nvPr/>
          </p:nvSpPr>
          <p:spPr bwMode="auto">
            <a:xfrm>
              <a:off x="537729" y="4908381"/>
              <a:ext cx="4935538" cy="238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solidFill>
                    <a:srgbClr val="FFFFFF"/>
                  </a:solidFill>
                  <a:latin typeface="Arial"/>
                </a:rPr>
                <a:t>Document type</a:t>
              </a:r>
            </a:p>
          </p:txBody>
        </p:sp>
        <p:sp>
          <p:nvSpPr>
            <p:cNvPr id="15" name="McK Date"/>
            <p:cNvSpPr txBox="1">
              <a:spLocks noChangeArrowheads="1"/>
            </p:cNvSpPr>
            <p:nvPr/>
          </p:nvSpPr>
          <p:spPr bwMode="auto">
            <a:xfrm>
              <a:off x="537729" y="5199063"/>
              <a:ext cx="4935538" cy="2382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GB" sz="1400" dirty="0" smtClean="0">
                  <a:solidFill>
                    <a:srgbClr val="FFFFFF"/>
                  </a:solidFill>
                  <a:latin typeface="Arial"/>
                </a:rPr>
                <a:t>Date</a:t>
              </a:r>
            </a:p>
          </p:txBody>
        </p:sp>
      </p:grpSp>
      <p:grpSp>
        <p:nvGrpSpPr>
          <p:cNvPr id="18" name="Group 17"/>
          <p:cNvGrpSpPr/>
          <p:nvPr userDrawn="1"/>
        </p:nvGrpSpPr>
        <p:grpSpPr bwMode="invGray">
          <a:xfrm>
            <a:off x="1377353" y="724571"/>
            <a:ext cx="1213289" cy="911753"/>
            <a:chOff x="1230313" y="1433513"/>
            <a:chExt cx="898525" cy="900113"/>
          </a:xfrm>
        </p:grpSpPr>
        <p:sp>
          <p:nvSpPr>
            <p:cNvPr id="19" name="Freeform 18"/>
            <p:cNvSpPr>
              <a:spLocks noEditPoints="1"/>
            </p:cNvSpPr>
            <p:nvPr userDrawn="1"/>
          </p:nvSpPr>
          <p:spPr bwMode="invGray">
            <a:xfrm>
              <a:off x="1230313" y="1433513"/>
              <a:ext cx="898525" cy="900113"/>
            </a:xfrm>
            <a:custGeom>
              <a:avLst/>
              <a:gdLst>
                <a:gd name="T0" fmla="*/ 198 w 566"/>
                <a:gd name="T1" fmla="*/ 14 h 567"/>
                <a:gd name="T2" fmla="*/ 103 w 566"/>
                <a:gd name="T3" fmla="*/ 66 h 567"/>
                <a:gd name="T4" fmla="*/ 34 w 566"/>
                <a:gd name="T5" fmla="*/ 149 h 567"/>
                <a:gd name="T6" fmla="*/ 2 w 566"/>
                <a:gd name="T7" fmla="*/ 255 h 567"/>
                <a:gd name="T8" fmla="*/ 9 w 566"/>
                <a:gd name="T9" fmla="*/ 354 h 567"/>
                <a:gd name="T10" fmla="*/ 57 w 566"/>
                <a:gd name="T11" fmla="*/ 453 h 567"/>
                <a:gd name="T12" fmla="*/ 136 w 566"/>
                <a:gd name="T13" fmla="*/ 526 h 567"/>
                <a:gd name="T14" fmla="*/ 240 w 566"/>
                <a:gd name="T15" fmla="*/ 563 h 567"/>
                <a:gd name="T16" fmla="*/ 341 w 566"/>
                <a:gd name="T17" fmla="*/ 561 h 567"/>
                <a:gd name="T18" fmla="*/ 442 w 566"/>
                <a:gd name="T19" fmla="*/ 518 h 567"/>
                <a:gd name="T20" fmla="*/ 518 w 566"/>
                <a:gd name="T21" fmla="*/ 442 h 567"/>
                <a:gd name="T22" fmla="*/ 561 w 566"/>
                <a:gd name="T23" fmla="*/ 341 h 567"/>
                <a:gd name="T24" fmla="*/ 563 w 566"/>
                <a:gd name="T25" fmla="*/ 240 h 567"/>
                <a:gd name="T26" fmla="*/ 526 w 566"/>
                <a:gd name="T27" fmla="*/ 137 h 567"/>
                <a:gd name="T28" fmla="*/ 454 w 566"/>
                <a:gd name="T29" fmla="*/ 57 h 567"/>
                <a:gd name="T30" fmla="*/ 356 w 566"/>
                <a:gd name="T31" fmla="*/ 10 h 567"/>
                <a:gd name="T32" fmla="*/ 95 w 566"/>
                <a:gd name="T33" fmla="*/ 90 h 567"/>
                <a:gd name="T34" fmla="*/ 248 w 566"/>
                <a:gd name="T35" fmla="*/ 16 h 567"/>
                <a:gd name="T36" fmla="*/ 206 w 566"/>
                <a:gd name="T37" fmla="*/ 55 h 567"/>
                <a:gd name="T38" fmla="*/ 94 w 566"/>
                <a:gd name="T39" fmla="*/ 92 h 567"/>
                <a:gd name="T40" fmla="*/ 247 w 566"/>
                <a:gd name="T41" fmla="*/ 36 h 567"/>
                <a:gd name="T42" fmla="*/ 192 w 566"/>
                <a:gd name="T43" fmla="*/ 92 h 567"/>
                <a:gd name="T44" fmla="*/ 337 w 566"/>
                <a:gd name="T45" fmla="*/ 50 h 567"/>
                <a:gd name="T46" fmla="*/ 290 w 566"/>
                <a:gd name="T47" fmla="*/ 92 h 567"/>
                <a:gd name="T48" fmla="*/ 319 w 566"/>
                <a:gd name="T49" fmla="*/ 19 h 567"/>
                <a:gd name="T50" fmla="*/ 382 w 566"/>
                <a:gd name="T51" fmla="*/ 32 h 567"/>
                <a:gd name="T52" fmla="*/ 473 w 566"/>
                <a:gd name="T53" fmla="*/ 92 h 567"/>
                <a:gd name="T54" fmla="*/ 166 w 566"/>
                <a:gd name="T55" fmla="*/ 107 h 567"/>
                <a:gd name="T56" fmla="*/ 32 w 566"/>
                <a:gd name="T57" fmla="*/ 186 h 567"/>
                <a:gd name="T58" fmla="*/ 81 w 566"/>
                <a:gd name="T59" fmla="*/ 106 h 567"/>
                <a:gd name="T60" fmla="*/ 278 w 566"/>
                <a:gd name="T61" fmla="*/ 186 h 567"/>
                <a:gd name="T62" fmla="*/ 183 w 566"/>
                <a:gd name="T63" fmla="*/ 106 h 567"/>
                <a:gd name="T64" fmla="*/ 384 w 566"/>
                <a:gd name="T65" fmla="*/ 106 h 567"/>
                <a:gd name="T66" fmla="*/ 417 w 566"/>
                <a:gd name="T67" fmla="*/ 186 h 567"/>
                <a:gd name="T68" fmla="*/ 486 w 566"/>
                <a:gd name="T69" fmla="*/ 105 h 567"/>
                <a:gd name="T70" fmla="*/ 535 w 566"/>
                <a:gd name="T71" fmla="*/ 186 h 567"/>
                <a:gd name="T72" fmla="*/ 411 w 566"/>
                <a:gd name="T73" fmla="*/ 126 h 567"/>
                <a:gd name="T74" fmla="*/ 540 w 566"/>
                <a:gd name="T75" fmla="*/ 199 h 567"/>
                <a:gd name="T76" fmla="*/ 552 w 566"/>
                <a:gd name="T77" fmla="*/ 305 h 567"/>
                <a:gd name="T78" fmla="*/ 27 w 566"/>
                <a:gd name="T79" fmla="*/ 368 h 567"/>
                <a:gd name="T80" fmla="*/ 14 w 566"/>
                <a:gd name="T81" fmla="*/ 284 h 567"/>
                <a:gd name="T82" fmla="*/ 540 w 566"/>
                <a:gd name="T83" fmla="*/ 199 h 567"/>
                <a:gd name="T84" fmla="*/ 156 w 566"/>
                <a:gd name="T85" fmla="*/ 441 h 567"/>
                <a:gd name="T86" fmla="*/ 81 w 566"/>
                <a:gd name="T87" fmla="*/ 461 h 567"/>
                <a:gd name="T88" fmla="*/ 32 w 566"/>
                <a:gd name="T89" fmla="*/ 381 h 567"/>
                <a:gd name="T90" fmla="*/ 183 w 566"/>
                <a:gd name="T91" fmla="*/ 461 h 567"/>
                <a:gd name="T92" fmla="*/ 149 w 566"/>
                <a:gd name="T93" fmla="*/ 381 h 567"/>
                <a:gd name="T94" fmla="*/ 412 w 566"/>
                <a:gd name="T95" fmla="*/ 402 h 567"/>
                <a:gd name="T96" fmla="*/ 290 w 566"/>
                <a:gd name="T97" fmla="*/ 461 h 567"/>
                <a:gd name="T98" fmla="*/ 534 w 566"/>
                <a:gd name="T99" fmla="*/ 382 h 567"/>
                <a:gd name="T100" fmla="*/ 400 w 566"/>
                <a:gd name="T101" fmla="*/ 461 h 567"/>
                <a:gd name="T102" fmla="*/ 431 w 566"/>
                <a:gd name="T103" fmla="*/ 381 h 567"/>
                <a:gd name="T104" fmla="*/ 176 w 566"/>
                <a:gd name="T105" fmla="*/ 475 h 567"/>
                <a:gd name="T106" fmla="*/ 253 w 566"/>
                <a:gd name="T107" fmla="*/ 551 h 567"/>
                <a:gd name="T108" fmla="*/ 146 w 566"/>
                <a:gd name="T109" fmla="*/ 515 h 567"/>
                <a:gd name="T110" fmla="*/ 176 w 566"/>
                <a:gd name="T111" fmla="*/ 475 h 567"/>
                <a:gd name="T112" fmla="*/ 230 w 566"/>
                <a:gd name="T113" fmla="*/ 516 h 567"/>
                <a:gd name="T114" fmla="*/ 278 w 566"/>
                <a:gd name="T115" fmla="*/ 475 h 567"/>
                <a:gd name="T116" fmla="*/ 320 w 566"/>
                <a:gd name="T117" fmla="*/ 531 h 567"/>
                <a:gd name="T118" fmla="*/ 374 w 566"/>
                <a:gd name="T119" fmla="*/ 475 h 567"/>
                <a:gd name="T120" fmla="*/ 401 w 566"/>
                <a:gd name="T121" fmla="*/ 525 h 567"/>
                <a:gd name="T122" fmla="*/ 319 w 566"/>
                <a:gd name="T123" fmla="*/ 547 h 567"/>
                <a:gd name="T124" fmla="*/ 391 w 566"/>
                <a:gd name="T125" fmla="*/ 475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6" h="567">
                  <a:moveTo>
                    <a:pt x="282" y="0"/>
                  </a:moveTo>
                  <a:lnTo>
                    <a:pt x="282" y="0"/>
                  </a:lnTo>
                  <a:lnTo>
                    <a:pt x="268" y="1"/>
                  </a:lnTo>
                  <a:lnTo>
                    <a:pt x="252" y="2"/>
                  </a:lnTo>
                  <a:lnTo>
                    <a:pt x="238" y="4"/>
                  </a:lnTo>
                  <a:lnTo>
                    <a:pt x="225" y="7"/>
                  </a:lnTo>
                  <a:lnTo>
                    <a:pt x="211" y="10"/>
                  </a:lnTo>
                  <a:lnTo>
                    <a:pt x="198" y="14"/>
                  </a:lnTo>
                  <a:lnTo>
                    <a:pt x="185" y="18"/>
                  </a:lnTo>
                  <a:lnTo>
                    <a:pt x="172" y="23"/>
                  </a:lnTo>
                  <a:lnTo>
                    <a:pt x="159" y="29"/>
                  </a:lnTo>
                  <a:lnTo>
                    <a:pt x="147" y="35"/>
                  </a:lnTo>
                  <a:lnTo>
                    <a:pt x="136" y="42"/>
                  </a:lnTo>
                  <a:lnTo>
                    <a:pt x="124" y="49"/>
                  </a:lnTo>
                  <a:lnTo>
                    <a:pt x="113" y="57"/>
                  </a:lnTo>
                  <a:lnTo>
                    <a:pt x="103" y="66"/>
                  </a:lnTo>
                  <a:lnTo>
                    <a:pt x="92" y="75"/>
                  </a:lnTo>
                  <a:lnTo>
                    <a:pt x="83" y="84"/>
                  </a:lnTo>
                  <a:lnTo>
                    <a:pt x="73" y="94"/>
                  </a:lnTo>
                  <a:lnTo>
                    <a:pt x="65" y="104"/>
                  </a:lnTo>
                  <a:lnTo>
                    <a:pt x="56" y="115"/>
                  </a:lnTo>
                  <a:lnTo>
                    <a:pt x="48" y="126"/>
                  </a:lnTo>
                  <a:lnTo>
                    <a:pt x="41" y="137"/>
                  </a:lnTo>
                  <a:lnTo>
                    <a:pt x="34" y="149"/>
                  </a:lnTo>
                  <a:lnTo>
                    <a:pt x="28" y="161"/>
                  </a:lnTo>
                  <a:lnTo>
                    <a:pt x="22" y="174"/>
                  </a:lnTo>
                  <a:lnTo>
                    <a:pt x="17" y="186"/>
                  </a:lnTo>
                  <a:lnTo>
                    <a:pt x="13" y="199"/>
                  </a:lnTo>
                  <a:lnTo>
                    <a:pt x="9" y="213"/>
                  </a:lnTo>
                  <a:lnTo>
                    <a:pt x="6" y="226"/>
                  </a:lnTo>
                  <a:lnTo>
                    <a:pt x="4" y="240"/>
                  </a:lnTo>
                  <a:lnTo>
                    <a:pt x="2" y="255"/>
                  </a:lnTo>
                  <a:lnTo>
                    <a:pt x="1" y="270"/>
                  </a:lnTo>
                  <a:lnTo>
                    <a:pt x="0" y="284"/>
                  </a:lnTo>
                  <a:lnTo>
                    <a:pt x="0" y="284"/>
                  </a:lnTo>
                  <a:lnTo>
                    <a:pt x="1" y="298"/>
                  </a:lnTo>
                  <a:lnTo>
                    <a:pt x="2" y="313"/>
                  </a:lnTo>
                  <a:lnTo>
                    <a:pt x="4" y="327"/>
                  </a:lnTo>
                  <a:lnTo>
                    <a:pt x="6" y="341"/>
                  </a:lnTo>
                  <a:lnTo>
                    <a:pt x="9" y="354"/>
                  </a:lnTo>
                  <a:lnTo>
                    <a:pt x="13" y="368"/>
                  </a:lnTo>
                  <a:lnTo>
                    <a:pt x="18" y="381"/>
                  </a:lnTo>
                  <a:lnTo>
                    <a:pt x="23" y="394"/>
                  </a:lnTo>
                  <a:lnTo>
                    <a:pt x="28" y="406"/>
                  </a:lnTo>
                  <a:lnTo>
                    <a:pt x="34" y="418"/>
                  </a:lnTo>
                  <a:lnTo>
                    <a:pt x="41" y="430"/>
                  </a:lnTo>
                  <a:lnTo>
                    <a:pt x="49" y="442"/>
                  </a:lnTo>
                  <a:lnTo>
                    <a:pt x="57" y="453"/>
                  </a:lnTo>
                  <a:lnTo>
                    <a:pt x="65" y="464"/>
                  </a:lnTo>
                  <a:lnTo>
                    <a:pt x="74" y="474"/>
                  </a:lnTo>
                  <a:lnTo>
                    <a:pt x="83" y="484"/>
                  </a:lnTo>
                  <a:lnTo>
                    <a:pt x="93" y="493"/>
                  </a:lnTo>
                  <a:lnTo>
                    <a:pt x="103" y="502"/>
                  </a:lnTo>
                  <a:lnTo>
                    <a:pt x="114" y="510"/>
                  </a:lnTo>
                  <a:lnTo>
                    <a:pt x="125" y="518"/>
                  </a:lnTo>
                  <a:lnTo>
                    <a:pt x="136" y="526"/>
                  </a:lnTo>
                  <a:lnTo>
                    <a:pt x="148" y="532"/>
                  </a:lnTo>
                  <a:lnTo>
                    <a:pt x="160" y="539"/>
                  </a:lnTo>
                  <a:lnTo>
                    <a:pt x="173" y="544"/>
                  </a:lnTo>
                  <a:lnTo>
                    <a:pt x="186" y="549"/>
                  </a:lnTo>
                  <a:lnTo>
                    <a:pt x="199" y="554"/>
                  </a:lnTo>
                  <a:lnTo>
                    <a:pt x="212" y="558"/>
                  </a:lnTo>
                  <a:lnTo>
                    <a:pt x="226" y="561"/>
                  </a:lnTo>
                  <a:lnTo>
                    <a:pt x="240" y="563"/>
                  </a:lnTo>
                  <a:lnTo>
                    <a:pt x="254" y="565"/>
                  </a:lnTo>
                  <a:lnTo>
                    <a:pt x="269" y="566"/>
                  </a:lnTo>
                  <a:lnTo>
                    <a:pt x="284" y="567"/>
                  </a:lnTo>
                  <a:lnTo>
                    <a:pt x="284" y="567"/>
                  </a:lnTo>
                  <a:lnTo>
                    <a:pt x="298" y="566"/>
                  </a:lnTo>
                  <a:lnTo>
                    <a:pt x="313" y="565"/>
                  </a:lnTo>
                  <a:lnTo>
                    <a:pt x="327" y="563"/>
                  </a:lnTo>
                  <a:lnTo>
                    <a:pt x="341" y="561"/>
                  </a:lnTo>
                  <a:lnTo>
                    <a:pt x="354" y="558"/>
                  </a:lnTo>
                  <a:lnTo>
                    <a:pt x="368" y="554"/>
                  </a:lnTo>
                  <a:lnTo>
                    <a:pt x="381" y="549"/>
                  </a:lnTo>
                  <a:lnTo>
                    <a:pt x="394" y="544"/>
                  </a:lnTo>
                  <a:lnTo>
                    <a:pt x="406" y="539"/>
                  </a:lnTo>
                  <a:lnTo>
                    <a:pt x="418" y="532"/>
                  </a:lnTo>
                  <a:lnTo>
                    <a:pt x="430" y="526"/>
                  </a:lnTo>
                  <a:lnTo>
                    <a:pt x="442" y="518"/>
                  </a:lnTo>
                  <a:lnTo>
                    <a:pt x="453" y="510"/>
                  </a:lnTo>
                  <a:lnTo>
                    <a:pt x="463" y="502"/>
                  </a:lnTo>
                  <a:lnTo>
                    <a:pt x="474" y="493"/>
                  </a:lnTo>
                  <a:lnTo>
                    <a:pt x="484" y="484"/>
                  </a:lnTo>
                  <a:lnTo>
                    <a:pt x="493" y="474"/>
                  </a:lnTo>
                  <a:lnTo>
                    <a:pt x="502" y="464"/>
                  </a:lnTo>
                  <a:lnTo>
                    <a:pt x="510" y="453"/>
                  </a:lnTo>
                  <a:lnTo>
                    <a:pt x="518" y="442"/>
                  </a:lnTo>
                  <a:lnTo>
                    <a:pt x="525" y="430"/>
                  </a:lnTo>
                  <a:lnTo>
                    <a:pt x="532" y="418"/>
                  </a:lnTo>
                  <a:lnTo>
                    <a:pt x="538" y="406"/>
                  </a:lnTo>
                  <a:lnTo>
                    <a:pt x="544" y="394"/>
                  </a:lnTo>
                  <a:lnTo>
                    <a:pt x="549" y="381"/>
                  </a:lnTo>
                  <a:lnTo>
                    <a:pt x="554" y="368"/>
                  </a:lnTo>
                  <a:lnTo>
                    <a:pt x="557" y="354"/>
                  </a:lnTo>
                  <a:lnTo>
                    <a:pt x="561" y="341"/>
                  </a:lnTo>
                  <a:lnTo>
                    <a:pt x="563" y="327"/>
                  </a:lnTo>
                  <a:lnTo>
                    <a:pt x="565" y="313"/>
                  </a:lnTo>
                  <a:lnTo>
                    <a:pt x="566" y="298"/>
                  </a:lnTo>
                  <a:lnTo>
                    <a:pt x="566" y="284"/>
                  </a:lnTo>
                  <a:lnTo>
                    <a:pt x="566" y="284"/>
                  </a:lnTo>
                  <a:lnTo>
                    <a:pt x="566" y="270"/>
                  </a:lnTo>
                  <a:lnTo>
                    <a:pt x="565" y="255"/>
                  </a:lnTo>
                  <a:lnTo>
                    <a:pt x="563" y="240"/>
                  </a:lnTo>
                  <a:lnTo>
                    <a:pt x="561" y="226"/>
                  </a:lnTo>
                  <a:lnTo>
                    <a:pt x="558" y="213"/>
                  </a:lnTo>
                  <a:lnTo>
                    <a:pt x="554" y="199"/>
                  </a:lnTo>
                  <a:lnTo>
                    <a:pt x="549" y="186"/>
                  </a:lnTo>
                  <a:lnTo>
                    <a:pt x="544" y="174"/>
                  </a:lnTo>
                  <a:lnTo>
                    <a:pt x="539" y="161"/>
                  </a:lnTo>
                  <a:lnTo>
                    <a:pt x="532" y="149"/>
                  </a:lnTo>
                  <a:lnTo>
                    <a:pt x="526" y="137"/>
                  </a:lnTo>
                  <a:lnTo>
                    <a:pt x="518" y="126"/>
                  </a:lnTo>
                  <a:lnTo>
                    <a:pt x="511" y="115"/>
                  </a:lnTo>
                  <a:lnTo>
                    <a:pt x="502" y="104"/>
                  </a:lnTo>
                  <a:lnTo>
                    <a:pt x="493" y="94"/>
                  </a:lnTo>
                  <a:lnTo>
                    <a:pt x="484" y="84"/>
                  </a:lnTo>
                  <a:lnTo>
                    <a:pt x="474" y="75"/>
                  </a:lnTo>
                  <a:lnTo>
                    <a:pt x="464" y="66"/>
                  </a:lnTo>
                  <a:lnTo>
                    <a:pt x="454" y="57"/>
                  </a:lnTo>
                  <a:lnTo>
                    <a:pt x="443" y="49"/>
                  </a:lnTo>
                  <a:lnTo>
                    <a:pt x="431" y="42"/>
                  </a:lnTo>
                  <a:lnTo>
                    <a:pt x="419" y="35"/>
                  </a:lnTo>
                  <a:lnTo>
                    <a:pt x="407" y="29"/>
                  </a:lnTo>
                  <a:lnTo>
                    <a:pt x="395" y="23"/>
                  </a:lnTo>
                  <a:lnTo>
                    <a:pt x="382" y="18"/>
                  </a:lnTo>
                  <a:lnTo>
                    <a:pt x="369" y="14"/>
                  </a:lnTo>
                  <a:lnTo>
                    <a:pt x="356" y="10"/>
                  </a:lnTo>
                  <a:lnTo>
                    <a:pt x="342" y="7"/>
                  </a:lnTo>
                  <a:lnTo>
                    <a:pt x="328" y="4"/>
                  </a:lnTo>
                  <a:lnTo>
                    <a:pt x="314" y="2"/>
                  </a:lnTo>
                  <a:lnTo>
                    <a:pt x="300" y="1"/>
                  </a:lnTo>
                  <a:lnTo>
                    <a:pt x="286" y="0"/>
                  </a:lnTo>
                  <a:lnTo>
                    <a:pt x="282" y="0"/>
                  </a:lnTo>
                  <a:close/>
                  <a:moveTo>
                    <a:pt x="95" y="90"/>
                  </a:moveTo>
                  <a:lnTo>
                    <a:pt x="95" y="90"/>
                  </a:lnTo>
                  <a:lnTo>
                    <a:pt x="111" y="76"/>
                  </a:lnTo>
                  <a:lnTo>
                    <a:pt x="128" y="63"/>
                  </a:lnTo>
                  <a:lnTo>
                    <a:pt x="147" y="51"/>
                  </a:lnTo>
                  <a:lnTo>
                    <a:pt x="166" y="41"/>
                  </a:lnTo>
                  <a:lnTo>
                    <a:pt x="185" y="32"/>
                  </a:lnTo>
                  <a:lnTo>
                    <a:pt x="206" y="25"/>
                  </a:lnTo>
                  <a:lnTo>
                    <a:pt x="226" y="20"/>
                  </a:lnTo>
                  <a:lnTo>
                    <a:pt x="248" y="16"/>
                  </a:lnTo>
                  <a:lnTo>
                    <a:pt x="248" y="16"/>
                  </a:lnTo>
                  <a:lnTo>
                    <a:pt x="254" y="15"/>
                  </a:lnTo>
                  <a:lnTo>
                    <a:pt x="254" y="15"/>
                  </a:lnTo>
                  <a:lnTo>
                    <a:pt x="247" y="19"/>
                  </a:lnTo>
                  <a:lnTo>
                    <a:pt x="247" y="19"/>
                  </a:lnTo>
                  <a:lnTo>
                    <a:pt x="233" y="30"/>
                  </a:lnTo>
                  <a:lnTo>
                    <a:pt x="215" y="46"/>
                  </a:lnTo>
                  <a:lnTo>
                    <a:pt x="206" y="55"/>
                  </a:lnTo>
                  <a:lnTo>
                    <a:pt x="196" y="66"/>
                  </a:lnTo>
                  <a:lnTo>
                    <a:pt x="186" y="78"/>
                  </a:lnTo>
                  <a:lnTo>
                    <a:pt x="176" y="92"/>
                  </a:lnTo>
                  <a:lnTo>
                    <a:pt x="176" y="92"/>
                  </a:lnTo>
                  <a:lnTo>
                    <a:pt x="176" y="92"/>
                  </a:lnTo>
                  <a:lnTo>
                    <a:pt x="176" y="92"/>
                  </a:lnTo>
                  <a:lnTo>
                    <a:pt x="94" y="92"/>
                  </a:lnTo>
                  <a:lnTo>
                    <a:pt x="94" y="92"/>
                  </a:lnTo>
                  <a:lnTo>
                    <a:pt x="95" y="90"/>
                  </a:lnTo>
                  <a:lnTo>
                    <a:pt x="95" y="90"/>
                  </a:lnTo>
                  <a:close/>
                  <a:moveTo>
                    <a:pt x="194" y="90"/>
                  </a:moveTo>
                  <a:lnTo>
                    <a:pt x="194" y="90"/>
                  </a:lnTo>
                  <a:lnTo>
                    <a:pt x="203" y="79"/>
                  </a:lnTo>
                  <a:lnTo>
                    <a:pt x="212" y="69"/>
                  </a:lnTo>
                  <a:lnTo>
                    <a:pt x="230" y="50"/>
                  </a:lnTo>
                  <a:lnTo>
                    <a:pt x="247" y="36"/>
                  </a:lnTo>
                  <a:lnTo>
                    <a:pt x="262" y="25"/>
                  </a:lnTo>
                  <a:lnTo>
                    <a:pt x="262" y="25"/>
                  </a:lnTo>
                  <a:lnTo>
                    <a:pt x="278" y="15"/>
                  </a:lnTo>
                  <a:lnTo>
                    <a:pt x="278" y="15"/>
                  </a:lnTo>
                  <a:lnTo>
                    <a:pt x="278" y="92"/>
                  </a:lnTo>
                  <a:lnTo>
                    <a:pt x="278" y="92"/>
                  </a:lnTo>
                  <a:lnTo>
                    <a:pt x="192" y="92"/>
                  </a:lnTo>
                  <a:lnTo>
                    <a:pt x="192" y="92"/>
                  </a:lnTo>
                  <a:lnTo>
                    <a:pt x="194" y="90"/>
                  </a:lnTo>
                  <a:lnTo>
                    <a:pt x="194" y="90"/>
                  </a:lnTo>
                  <a:close/>
                  <a:moveTo>
                    <a:pt x="290" y="15"/>
                  </a:moveTo>
                  <a:lnTo>
                    <a:pt x="290" y="15"/>
                  </a:lnTo>
                  <a:lnTo>
                    <a:pt x="305" y="25"/>
                  </a:lnTo>
                  <a:lnTo>
                    <a:pt x="305" y="25"/>
                  </a:lnTo>
                  <a:lnTo>
                    <a:pt x="320" y="36"/>
                  </a:lnTo>
                  <a:lnTo>
                    <a:pt x="337" y="50"/>
                  </a:lnTo>
                  <a:lnTo>
                    <a:pt x="355" y="69"/>
                  </a:lnTo>
                  <a:lnTo>
                    <a:pt x="364" y="79"/>
                  </a:lnTo>
                  <a:lnTo>
                    <a:pt x="373" y="90"/>
                  </a:lnTo>
                  <a:lnTo>
                    <a:pt x="373" y="90"/>
                  </a:lnTo>
                  <a:lnTo>
                    <a:pt x="374" y="92"/>
                  </a:lnTo>
                  <a:lnTo>
                    <a:pt x="374" y="92"/>
                  </a:lnTo>
                  <a:lnTo>
                    <a:pt x="290" y="92"/>
                  </a:lnTo>
                  <a:lnTo>
                    <a:pt x="290" y="92"/>
                  </a:lnTo>
                  <a:lnTo>
                    <a:pt x="290" y="15"/>
                  </a:lnTo>
                  <a:lnTo>
                    <a:pt x="290" y="15"/>
                  </a:lnTo>
                  <a:close/>
                  <a:moveTo>
                    <a:pt x="391" y="92"/>
                  </a:moveTo>
                  <a:lnTo>
                    <a:pt x="391" y="92"/>
                  </a:lnTo>
                  <a:lnTo>
                    <a:pt x="376" y="72"/>
                  </a:lnTo>
                  <a:lnTo>
                    <a:pt x="359" y="53"/>
                  </a:lnTo>
                  <a:lnTo>
                    <a:pt x="340" y="35"/>
                  </a:lnTo>
                  <a:lnTo>
                    <a:pt x="319" y="19"/>
                  </a:lnTo>
                  <a:lnTo>
                    <a:pt x="319" y="19"/>
                  </a:lnTo>
                  <a:lnTo>
                    <a:pt x="314" y="16"/>
                  </a:lnTo>
                  <a:lnTo>
                    <a:pt x="314" y="16"/>
                  </a:lnTo>
                  <a:lnTo>
                    <a:pt x="320" y="16"/>
                  </a:lnTo>
                  <a:lnTo>
                    <a:pt x="320" y="16"/>
                  </a:lnTo>
                  <a:lnTo>
                    <a:pt x="341" y="20"/>
                  </a:lnTo>
                  <a:lnTo>
                    <a:pt x="362" y="25"/>
                  </a:lnTo>
                  <a:lnTo>
                    <a:pt x="382" y="32"/>
                  </a:lnTo>
                  <a:lnTo>
                    <a:pt x="402" y="41"/>
                  </a:lnTo>
                  <a:lnTo>
                    <a:pt x="420" y="51"/>
                  </a:lnTo>
                  <a:lnTo>
                    <a:pt x="438" y="63"/>
                  </a:lnTo>
                  <a:lnTo>
                    <a:pt x="455" y="76"/>
                  </a:lnTo>
                  <a:lnTo>
                    <a:pt x="471" y="90"/>
                  </a:lnTo>
                  <a:lnTo>
                    <a:pt x="471" y="90"/>
                  </a:lnTo>
                  <a:lnTo>
                    <a:pt x="473" y="92"/>
                  </a:lnTo>
                  <a:lnTo>
                    <a:pt x="473" y="92"/>
                  </a:lnTo>
                  <a:lnTo>
                    <a:pt x="391" y="92"/>
                  </a:lnTo>
                  <a:lnTo>
                    <a:pt x="391" y="92"/>
                  </a:lnTo>
                  <a:lnTo>
                    <a:pt x="391" y="92"/>
                  </a:lnTo>
                  <a:lnTo>
                    <a:pt x="391" y="92"/>
                  </a:lnTo>
                  <a:close/>
                  <a:moveTo>
                    <a:pt x="167" y="105"/>
                  </a:moveTo>
                  <a:lnTo>
                    <a:pt x="167" y="105"/>
                  </a:lnTo>
                  <a:lnTo>
                    <a:pt x="166" y="107"/>
                  </a:lnTo>
                  <a:lnTo>
                    <a:pt x="166" y="107"/>
                  </a:lnTo>
                  <a:lnTo>
                    <a:pt x="156" y="126"/>
                  </a:lnTo>
                  <a:lnTo>
                    <a:pt x="148" y="145"/>
                  </a:lnTo>
                  <a:lnTo>
                    <a:pt x="141" y="165"/>
                  </a:lnTo>
                  <a:lnTo>
                    <a:pt x="136" y="185"/>
                  </a:lnTo>
                  <a:lnTo>
                    <a:pt x="136" y="185"/>
                  </a:lnTo>
                  <a:lnTo>
                    <a:pt x="136" y="186"/>
                  </a:lnTo>
                  <a:lnTo>
                    <a:pt x="136" y="186"/>
                  </a:lnTo>
                  <a:lnTo>
                    <a:pt x="32" y="186"/>
                  </a:lnTo>
                  <a:lnTo>
                    <a:pt x="32" y="186"/>
                  </a:lnTo>
                  <a:lnTo>
                    <a:pt x="33" y="185"/>
                  </a:lnTo>
                  <a:lnTo>
                    <a:pt x="33" y="185"/>
                  </a:lnTo>
                  <a:lnTo>
                    <a:pt x="42" y="163"/>
                  </a:lnTo>
                  <a:lnTo>
                    <a:pt x="53" y="143"/>
                  </a:lnTo>
                  <a:lnTo>
                    <a:pt x="66" y="124"/>
                  </a:lnTo>
                  <a:lnTo>
                    <a:pt x="81" y="106"/>
                  </a:lnTo>
                  <a:lnTo>
                    <a:pt x="81" y="106"/>
                  </a:lnTo>
                  <a:lnTo>
                    <a:pt x="81" y="105"/>
                  </a:lnTo>
                  <a:lnTo>
                    <a:pt x="81" y="105"/>
                  </a:lnTo>
                  <a:lnTo>
                    <a:pt x="167" y="105"/>
                  </a:lnTo>
                  <a:lnTo>
                    <a:pt x="167" y="105"/>
                  </a:lnTo>
                  <a:close/>
                  <a:moveTo>
                    <a:pt x="278" y="105"/>
                  </a:moveTo>
                  <a:lnTo>
                    <a:pt x="278" y="105"/>
                  </a:lnTo>
                  <a:lnTo>
                    <a:pt x="278" y="186"/>
                  </a:lnTo>
                  <a:lnTo>
                    <a:pt x="278" y="186"/>
                  </a:lnTo>
                  <a:lnTo>
                    <a:pt x="149" y="186"/>
                  </a:lnTo>
                  <a:lnTo>
                    <a:pt x="149" y="186"/>
                  </a:lnTo>
                  <a:lnTo>
                    <a:pt x="150" y="185"/>
                  </a:lnTo>
                  <a:lnTo>
                    <a:pt x="150" y="185"/>
                  </a:lnTo>
                  <a:lnTo>
                    <a:pt x="155" y="164"/>
                  </a:lnTo>
                  <a:lnTo>
                    <a:pt x="162" y="144"/>
                  </a:lnTo>
                  <a:lnTo>
                    <a:pt x="172" y="125"/>
                  </a:lnTo>
                  <a:lnTo>
                    <a:pt x="183" y="106"/>
                  </a:lnTo>
                  <a:lnTo>
                    <a:pt x="183" y="106"/>
                  </a:lnTo>
                  <a:lnTo>
                    <a:pt x="183" y="105"/>
                  </a:lnTo>
                  <a:lnTo>
                    <a:pt x="183" y="105"/>
                  </a:lnTo>
                  <a:lnTo>
                    <a:pt x="278" y="105"/>
                  </a:lnTo>
                  <a:lnTo>
                    <a:pt x="278" y="105"/>
                  </a:lnTo>
                  <a:close/>
                  <a:moveTo>
                    <a:pt x="384" y="105"/>
                  </a:moveTo>
                  <a:lnTo>
                    <a:pt x="384" y="105"/>
                  </a:lnTo>
                  <a:lnTo>
                    <a:pt x="384" y="106"/>
                  </a:lnTo>
                  <a:lnTo>
                    <a:pt x="384" y="106"/>
                  </a:lnTo>
                  <a:lnTo>
                    <a:pt x="395" y="125"/>
                  </a:lnTo>
                  <a:lnTo>
                    <a:pt x="404" y="144"/>
                  </a:lnTo>
                  <a:lnTo>
                    <a:pt x="412" y="164"/>
                  </a:lnTo>
                  <a:lnTo>
                    <a:pt x="417" y="185"/>
                  </a:lnTo>
                  <a:lnTo>
                    <a:pt x="417" y="185"/>
                  </a:lnTo>
                  <a:lnTo>
                    <a:pt x="417" y="186"/>
                  </a:lnTo>
                  <a:lnTo>
                    <a:pt x="417" y="186"/>
                  </a:lnTo>
                  <a:lnTo>
                    <a:pt x="290" y="186"/>
                  </a:lnTo>
                  <a:lnTo>
                    <a:pt x="290" y="186"/>
                  </a:lnTo>
                  <a:lnTo>
                    <a:pt x="290" y="105"/>
                  </a:lnTo>
                  <a:lnTo>
                    <a:pt x="290" y="105"/>
                  </a:lnTo>
                  <a:lnTo>
                    <a:pt x="384" y="105"/>
                  </a:lnTo>
                  <a:lnTo>
                    <a:pt x="384" y="105"/>
                  </a:lnTo>
                  <a:close/>
                  <a:moveTo>
                    <a:pt x="486" y="105"/>
                  </a:moveTo>
                  <a:lnTo>
                    <a:pt x="486" y="105"/>
                  </a:lnTo>
                  <a:lnTo>
                    <a:pt x="486" y="106"/>
                  </a:lnTo>
                  <a:lnTo>
                    <a:pt x="486" y="106"/>
                  </a:lnTo>
                  <a:lnTo>
                    <a:pt x="501" y="124"/>
                  </a:lnTo>
                  <a:lnTo>
                    <a:pt x="514" y="143"/>
                  </a:lnTo>
                  <a:lnTo>
                    <a:pt x="525" y="163"/>
                  </a:lnTo>
                  <a:lnTo>
                    <a:pt x="534" y="185"/>
                  </a:lnTo>
                  <a:lnTo>
                    <a:pt x="534" y="185"/>
                  </a:lnTo>
                  <a:lnTo>
                    <a:pt x="535" y="186"/>
                  </a:lnTo>
                  <a:lnTo>
                    <a:pt x="535" y="186"/>
                  </a:lnTo>
                  <a:lnTo>
                    <a:pt x="431" y="186"/>
                  </a:lnTo>
                  <a:lnTo>
                    <a:pt x="431" y="186"/>
                  </a:lnTo>
                  <a:lnTo>
                    <a:pt x="431" y="185"/>
                  </a:lnTo>
                  <a:lnTo>
                    <a:pt x="431" y="185"/>
                  </a:lnTo>
                  <a:lnTo>
                    <a:pt x="426" y="165"/>
                  </a:lnTo>
                  <a:lnTo>
                    <a:pt x="419" y="145"/>
                  </a:lnTo>
                  <a:lnTo>
                    <a:pt x="411" y="126"/>
                  </a:lnTo>
                  <a:lnTo>
                    <a:pt x="400" y="107"/>
                  </a:lnTo>
                  <a:lnTo>
                    <a:pt x="400" y="107"/>
                  </a:lnTo>
                  <a:lnTo>
                    <a:pt x="400" y="105"/>
                  </a:lnTo>
                  <a:lnTo>
                    <a:pt x="400" y="105"/>
                  </a:lnTo>
                  <a:lnTo>
                    <a:pt x="486" y="105"/>
                  </a:lnTo>
                  <a:lnTo>
                    <a:pt x="486" y="105"/>
                  </a:lnTo>
                  <a:close/>
                  <a:moveTo>
                    <a:pt x="540" y="199"/>
                  </a:moveTo>
                  <a:lnTo>
                    <a:pt x="540" y="199"/>
                  </a:lnTo>
                  <a:lnTo>
                    <a:pt x="540" y="200"/>
                  </a:lnTo>
                  <a:lnTo>
                    <a:pt x="540" y="200"/>
                  </a:lnTo>
                  <a:lnTo>
                    <a:pt x="545" y="220"/>
                  </a:lnTo>
                  <a:lnTo>
                    <a:pt x="549" y="242"/>
                  </a:lnTo>
                  <a:lnTo>
                    <a:pt x="552" y="263"/>
                  </a:lnTo>
                  <a:lnTo>
                    <a:pt x="553" y="284"/>
                  </a:lnTo>
                  <a:lnTo>
                    <a:pt x="553" y="284"/>
                  </a:lnTo>
                  <a:lnTo>
                    <a:pt x="552" y="305"/>
                  </a:lnTo>
                  <a:lnTo>
                    <a:pt x="549" y="326"/>
                  </a:lnTo>
                  <a:lnTo>
                    <a:pt x="545" y="347"/>
                  </a:lnTo>
                  <a:lnTo>
                    <a:pt x="540" y="367"/>
                  </a:lnTo>
                  <a:lnTo>
                    <a:pt x="540" y="367"/>
                  </a:lnTo>
                  <a:lnTo>
                    <a:pt x="539" y="368"/>
                  </a:lnTo>
                  <a:lnTo>
                    <a:pt x="539" y="368"/>
                  </a:lnTo>
                  <a:lnTo>
                    <a:pt x="27" y="368"/>
                  </a:lnTo>
                  <a:lnTo>
                    <a:pt x="27" y="368"/>
                  </a:lnTo>
                  <a:lnTo>
                    <a:pt x="27" y="367"/>
                  </a:lnTo>
                  <a:lnTo>
                    <a:pt x="27" y="367"/>
                  </a:lnTo>
                  <a:lnTo>
                    <a:pt x="27" y="367"/>
                  </a:lnTo>
                  <a:lnTo>
                    <a:pt x="21" y="347"/>
                  </a:lnTo>
                  <a:lnTo>
                    <a:pt x="17" y="326"/>
                  </a:lnTo>
                  <a:lnTo>
                    <a:pt x="15" y="305"/>
                  </a:lnTo>
                  <a:lnTo>
                    <a:pt x="14" y="284"/>
                  </a:lnTo>
                  <a:lnTo>
                    <a:pt x="14" y="284"/>
                  </a:lnTo>
                  <a:lnTo>
                    <a:pt x="15" y="263"/>
                  </a:lnTo>
                  <a:lnTo>
                    <a:pt x="17" y="242"/>
                  </a:lnTo>
                  <a:lnTo>
                    <a:pt x="21" y="220"/>
                  </a:lnTo>
                  <a:lnTo>
                    <a:pt x="27" y="200"/>
                  </a:lnTo>
                  <a:lnTo>
                    <a:pt x="27" y="200"/>
                  </a:lnTo>
                  <a:lnTo>
                    <a:pt x="27" y="199"/>
                  </a:lnTo>
                  <a:lnTo>
                    <a:pt x="27" y="199"/>
                  </a:lnTo>
                  <a:lnTo>
                    <a:pt x="540" y="199"/>
                  </a:lnTo>
                  <a:lnTo>
                    <a:pt x="540" y="199"/>
                  </a:lnTo>
                  <a:close/>
                  <a:moveTo>
                    <a:pt x="136" y="381"/>
                  </a:moveTo>
                  <a:lnTo>
                    <a:pt x="136" y="381"/>
                  </a:lnTo>
                  <a:lnTo>
                    <a:pt x="136" y="381"/>
                  </a:lnTo>
                  <a:lnTo>
                    <a:pt x="136" y="381"/>
                  </a:lnTo>
                  <a:lnTo>
                    <a:pt x="141" y="402"/>
                  </a:lnTo>
                  <a:lnTo>
                    <a:pt x="148" y="421"/>
                  </a:lnTo>
                  <a:lnTo>
                    <a:pt x="156" y="441"/>
                  </a:lnTo>
                  <a:lnTo>
                    <a:pt x="166" y="460"/>
                  </a:lnTo>
                  <a:lnTo>
                    <a:pt x="166" y="460"/>
                  </a:lnTo>
                  <a:lnTo>
                    <a:pt x="167" y="461"/>
                  </a:lnTo>
                  <a:lnTo>
                    <a:pt x="167" y="461"/>
                  </a:lnTo>
                  <a:lnTo>
                    <a:pt x="81" y="461"/>
                  </a:lnTo>
                  <a:lnTo>
                    <a:pt x="81" y="461"/>
                  </a:lnTo>
                  <a:lnTo>
                    <a:pt x="81" y="461"/>
                  </a:lnTo>
                  <a:lnTo>
                    <a:pt x="81" y="461"/>
                  </a:lnTo>
                  <a:lnTo>
                    <a:pt x="81" y="461"/>
                  </a:lnTo>
                  <a:lnTo>
                    <a:pt x="66" y="443"/>
                  </a:lnTo>
                  <a:lnTo>
                    <a:pt x="53" y="423"/>
                  </a:lnTo>
                  <a:lnTo>
                    <a:pt x="42" y="403"/>
                  </a:lnTo>
                  <a:lnTo>
                    <a:pt x="33" y="382"/>
                  </a:lnTo>
                  <a:lnTo>
                    <a:pt x="33" y="382"/>
                  </a:lnTo>
                  <a:lnTo>
                    <a:pt x="32" y="381"/>
                  </a:lnTo>
                  <a:lnTo>
                    <a:pt x="32" y="381"/>
                  </a:lnTo>
                  <a:lnTo>
                    <a:pt x="136" y="381"/>
                  </a:lnTo>
                  <a:lnTo>
                    <a:pt x="136" y="381"/>
                  </a:lnTo>
                  <a:close/>
                  <a:moveTo>
                    <a:pt x="278" y="381"/>
                  </a:moveTo>
                  <a:lnTo>
                    <a:pt x="278" y="381"/>
                  </a:lnTo>
                  <a:lnTo>
                    <a:pt x="278" y="461"/>
                  </a:lnTo>
                  <a:lnTo>
                    <a:pt x="278" y="461"/>
                  </a:lnTo>
                  <a:lnTo>
                    <a:pt x="183" y="461"/>
                  </a:lnTo>
                  <a:lnTo>
                    <a:pt x="183" y="461"/>
                  </a:lnTo>
                  <a:lnTo>
                    <a:pt x="183" y="461"/>
                  </a:lnTo>
                  <a:lnTo>
                    <a:pt x="183" y="461"/>
                  </a:lnTo>
                  <a:lnTo>
                    <a:pt x="172" y="442"/>
                  </a:lnTo>
                  <a:lnTo>
                    <a:pt x="162" y="422"/>
                  </a:lnTo>
                  <a:lnTo>
                    <a:pt x="155" y="402"/>
                  </a:lnTo>
                  <a:lnTo>
                    <a:pt x="150" y="382"/>
                  </a:lnTo>
                  <a:lnTo>
                    <a:pt x="150" y="382"/>
                  </a:lnTo>
                  <a:lnTo>
                    <a:pt x="149" y="381"/>
                  </a:lnTo>
                  <a:lnTo>
                    <a:pt x="149" y="381"/>
                  </a:lnTo>
                  <a:lnTo>
                    <a:pt x="278" y="381"/>
                  </a:lnTo>
                  <a:lnTo>
                    <a:pt x="278" y="381"/>
                  </a:lnTo>
                  <a:close/>
                  <a:moveTo>
                    <a:pt x="417" y="381"/>
                  </a:moveTo>
                  <a:lnTo>
                    <a:pt x="417" y="381"/>
                  </a:lnTo>
                  <a:lnTo>
                    <a:pt x="417" y="382"/>
                  </a:lnTo>
                  <a:lnTo>
                    <a:pt x="417" y="382"/>
                  </a:lnTo>
                  <a:lnTo>
                    <a:pt x="412" y="402"/>
                  </a:lnTo>
                  <a:lnTo>
                    <a:pt x="404" y="422"/>
                  </a:lnTo>
                  <a:lnTo>
                    <a:pt x="395" y="442"/>
                  </a:lnTo>
                  <a:lnTo>
                    <a:pt x="384" y="461"/>
                  </a:lnTo>
                  <a:lnTo>
                    <a:pt x="384" y="461"/>
                  </a:lnTo>
                  <a:lnTo>
                    <a:pt x="384" y="461"/>
                  </a:lnTo>
                  <a:lnTo>
                    <a:pt x="384" y="461"/>
                  </a:lnTo>
                  <a:lnTo>
                    <a:pt x="290" y="461"/>
                  </a:lnTo>
                  <a:lnTo>
                    <a:pt x="290" y="461"/>
                  </a:lnTo>
                  <a:lnTo>
                    <a:pt x="290" y="381"/>
                  </a:lnTo>
                  <a:lnTo>
                    <a:pt x="290" y="381"/>
                  </a:lnTo>
                  <a:lnTo>
                    <a:pt x="417" y="381"/>
                  </a:lnTo>
                  <a:lnTo>
                    <a:pt x="417" y="381"/>
                  </a:lnTo>
                  <a:close/>
                  <a:moveTo>
                    <a:pt x="535" y="381"/>
                  </a:moveTo>
                  <a:lnTo>
                    <a:pt x="535" y="381"/>
                  </a:lnTo>
                  <a:lnTo>
                    <a:pt x="534" y="382"/>
                  </a:lnTo>
                  <a:lnTo>
                    <a:pt x="534" y="382"/>
                  </a:lnTo>
                  <a:lnTo>
                    <a:pt x="525" y="403"/>
                  </a:lnTo>
                  <a:lnTo>
                    <a:pt x="514" y="423"/>
                  </a:lnTo>
                  <a:lnTo>
                    <a:pt x="501" y="443"/>
                  </a:lnTo>
                  <a:lnTo>
                    <a:pt x="486" y="461"/>
                  </a:lnTo>
                  <a:lnTo>
                    <a:pt x="486" y="461"/>
                  </a:lnTo>
                  <a:lnTo>
                    <a:pt x="486" y="461"/>
                  </a:lnTo>
                  <a:lnTo>
                    <a:pt x="486" y="461"/>
                  </a:lnTo>
                  <a:lnTo>
                    <a:pt x="400" y="461"/>
                  </a:lnTo>
                  <a:lnTo>
                    <a:pt x="400" y="461"/>
                  </a:lnTo>
                  <a:lnTo>
                    <a:pt x="400" y="460"/>
                  </a:lnTo>
                  <a:lnTo>
                    <a:pt x="400" y="460"/>
                  </a:lnTo>
                  <a:lnTo>
                    <a:pt x="400" y="460"/>
                  </a:lnTo>
                  <a:lnTo>
                    <a:pt x="411" y="441"/>
                  </a:lnTo>
                  <a:lnTo>
                    <a:pt x="419" y="421"/>
                  </a:lnTo>
                  <a:lnTo>
                    <a:pt x="426" y="402"/>
                  </a:lnTo>
                  <a:lnTo>
                    <a:pt x="431" y="381"/>
                  </a:lnTo>
                  <a:lnTo>
                    <a:pt x="431" y="381"/>
                  </a:lnTo>
                  <a:lnTo>
                    <a:pt x="431" y="381"/>
                  </a:lnTo>
                  <a:lnTo>
                    <a:pt x="431" y="381"/>
                  </a:lnTo>
                  <a:lnTo>
                    <a:pt x="535" y="381"/>
                  </a:lnTo>
                  <a:lnTo>
                    <a:pt x="535" y="381"/>
                  </a:lnTo>
                  <a:close/>
                  <a:moveTo>
                    <a:pt x="176" y="475"/>
                  </a:moveTo>
                  <a:lnTo>
                    <a:pt x="176" y="475"/>
                  </a:lnTo>
                  <a:lnTo>
                    <a:pt x="176" y="475"/>
                  </a:lnTo>
                  <a:lnTo>
                    <a:pt x="176" y="475"/>
                  </a:lnTo>
                  <a:lnTo>
                    <a:pt x="191" y="495"/>
                  </a:lnTo>
                  <a:lnTo>
                    <a:pt x="208" y="513"/>
                  </a:lnTo>
                  <a:lnTo>
                    <a:pt x="227" y="531"/>
                  </a:lnTo>
                  <a:lnTo>
                    <a:pt x="247" y="548"/>
                  </a:lnTo>
                  <a:lnTo>
                    <a:pt x="247" y="548"/>
                  </a:lnTo>
                  <a:lnTo>
                    <a:pt x="253" y="551"/>
                  </a:lnTo>
                  <a:lnTo>
                    <a:pt x="253" y="551"/>
                  </a:lnTo>
                  <a:lnTo>
                    <a:pt x="247" y="550"/>
                  </a:lnTo>
                  <a:lnTo>
                    <a:pt x="247" y="550"/>
                  </a:lnTo>
                  <a:lnTo>
                    <a:pt x="247" y="550"/>
                  </a:lnTo>
                  <a:lnTo>
                    <a:pt x="226" y="546"/>
                  </a:lnTo>
                  <a:lnTo>
                    <a:pt x="205" y="541"/>
                  </a:lnTo>
                  <a:lnTo>
                    <a:pt x="185" y="534"/>
                  </a:lnTo>
                  <a:lnTo>
                    <a:pt x="165" y="525"/>
                  </a:lnTo>
                  <a:lnTo>
                    <a:pt x="146" y="515"/>
                  </a:lnTo>
                  <a:lnTo>
                    <a:pt x="129" y="504"/>
                  </a:lnTo>
                  <a:lnTo>
                    <a:pt x="111" y="491"/>
                  </a:lnTo>
                  <a:lnTo>
                    <a:pt x="95" y="476"/>
                  </a:lnTo>
                  <a:lnTo>
                    <a:pt x="95" y="476"/>
                  </a:lnTo>
                  <a:lnTo>
                    <a:pt x="94" y="475"/>
                  </a:lnTo>
                  <a:lnTo>
                    <a:pt x="94" y="475"/>
                  </a:lnTo>
                  <a:lnTo>
                    <a:pt x="176" y="475"/>
                  </a:lnTo>
                  <a:lnTo>
                    <a:pt x="176" y="475"/>
                  </a:lnTo>
                  <a:close/>
                  <a:moveTo>
                    <a:pt x="278" y="475"/>
                  </a:moveTo>
                  <a:lnTo>
                    <a:pt x="278" y="475"/>
                  </a:lnTo>
                  <a:lnTo>
                    <a:pt x="278" y="552"/>
                  </a:lnTo>
                  <a:lnTo>
                    <a:pt x="278" y="552"/>
                  </a:lnTo>
                  <a:lnTo>
                    <a:pt x="262" y="542"/>
                  </a:lnTo>
                  <a:lnTo>
                    <a:pt x="262" y="542"/>
                  </a:lnTo>
                  <a:lnTo>
                    <a:pt x="247" y="531"/>
                  </a:lnTo>
                  <a:lnTo>
                    <a:pt x="230" y="516"/>
                  </a:lnTo>
                  <a:lnTo>
                    <a:pt x="212" y="498"/>
                  </a:lnTo>
                  <a:lnTo>
                    <a:pt x="203" y="487"/>
                  </a:lnTo>
                  <a:lnTo>
                    <a:pt x="194" y="476"/>
                  </a:lnTo>
                  <a:lnTo>
                    <a:pt x="194" y="476"/>
                  </a:lnTo>
                  <a:lnTo>
                    <a:pt x="192" y="475"/>
                  </a:lnTo>
                  <a:lnTo>
                    <a:pt x="192" y="475"/>
                  </a:lnTo>
                  <a:lnTo>
                    <a:pt x="278" y="475"/>
                  </a:lnTo>
                  <a:lnTo>
                    <a:pt x="278" y="475"/>
                  </a:lnTo>
                  <a:close/>
                  <a:moveTo>
                    <a:pt x="374" y="475"/>
                  </a:moveTo>
                  <a:lnTo>
                    <a:pt x="374" y="475"/>
                  </a:lnTo>
                  <a:lnTo>
                    <a:pt x="373" y="476"/>
                  </a:lnTo>
                  <a:lnTo>
                    <a:pt x="373" y="476"/>
                  </a:lnTo>
                  <a:lnTo>
                    <a:pt x="364" y="487"/>
                  </a:lnTo>
                  <a:lnTo>
                    <a:pt x="355" y="498"/>
                  </a:lnTo>
                  <a:lnTo>
                    <a:pt x="337" y="516"/>
                  </a:lnTo>
                  <a:lnTo>
                    <a:pt x="320" y="531"/>
                  </a:lnTo>
                  <a:lnTo>
                    <a:pt x="305" y="542"/>
                  </a:lnTo>
                  <a:lnTo>
                    <a:pt x="305" y="542"/>
                  </a:lnTo>
                  <a:lnTo>
                    <a:pt x="290" y="552"/>
                  </a:lnTo>
                  <a:lnTo>
                    <a:pt x="290" y="552"/>
                  </a:lnTo>
                  <a:lnTo>
                    <a:pt x="290" y="475"/>
                  </a:lnTo>
                  <a:lnTo>
                    <a:pt x="290" y="475"/>
                  </a:lnTo>
                  <a:lnTo>
                    <a:pt x="374" y="475"/>
                  </a:lnTo>
                  <a:lnTo>
                    <a:pt x="374" y="475"/>
                  </a:lnTo>
                  <a:close/>
                  <a:moveTo>
                    <a:pt x="473" y="475"/>
                  </a:moveTo>
                  <a:lnTo>
                    <a:pt x="473" y="475"/>
                  </a:lnTo>
                  <a:lnTo>
                    <a:pt x="471" y="476"/>
                  </a:lnTo>
                  <a:lnTo>
                    <a:pt x="471" y="476"/>
                  </a:lnTo>
                  <a:lnTo>
                    <a:pt x="455" y="491"/>
                  </a:lnTo>
                  <a:lnTo>
                    <a:pt x="438" y="504"/>
                  </a:lnTo>
                  <a:lnTo>
                    <a:pt x="420" y="515"/>
                  </a:lnTo>
                  <a:lnTo>
                    <a:pt x="401" y="525"/>
                  </a:lnTo>
                  <a:lnTo>
                    <a:pt x="382" y="534"/>
                  </a:lnTo>
                  <a:lnTo>
                    <a:pt x="361" y="541"/>
                  </a:lnTo>
                  <a:lnTo>
                    <a:pt x="340" y="547"/>
                  </a:lnTo>
                  <a:lnTo>
                    <a:pt x="319" y="551"/>
                  </a:lnTo>
                  <a:lnTo>
                    <a:pt x="319" y="551"/>
                  </a:lnTo>
                  <a:lnTo>
                    <a:pt x="313" y="551"/>
                  </a:lnTo>
                  <a:lnTo>
                    <a:pt x="313" y="551"/>
                  </a:lnTo>
                  <a:lnTo>
                    <a:pt x="319" y="547"/>
                  </a:lnTo>
                  <a:lnTo>
                    <a:pt x="319" y="547"/>
                  </a:lnTo>
                  <a:lnTo>
                    <a:pt x="334" y="537"/>
                  </a:lnTo>
                  <a:lnTo>
                    <a:pt x="351" y="521"/>
                  </a:lnTo>
                  <a:lnTo>
                    <a:pt x="361" y="511"/>
                  </a:lnTo>
                  <a:lnTo>
                    <a:pt x="371" y="500"/>
                  </a:lnTo>
                  <a:lnTo>
                    <a:pt x="381" y="488"/>
                  </a:lnTo>
                  <a:lnTo>
                    <a:pt x="391" y="475"/>
                  </a:lnTo>
                  <a:lnTo>
                    <a:pt x="391" y="475"/>
                  </a:lnTo>
                  <a:lnTo>
                    <a:pt x="391" y="475"/>
                  </a:lnTo>
                  <a:lnTo>
                    <a:pt x="391" y="475"/>
                  </a:lnTo>
                  <a:lnTo>
                    <a:pt x="473" y="475"/>
                  </a:lnTo>
                  <a:lnTo>
                    <a:pt x="473" y="4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0" name="Freeform 27"/>
            <p:cNvSpPr>
              <a:spLocks/>
            </p:cNvSpPr>
            <p:nvPr userDrawn="1"/>
          </p:nvSpPr>
          <p:spPr bwMode="invGray">
            <a:xfrm>
              <a:off x="1658938" y="1789113"/>
              <a:ext cx="107950" cy="187325"/>
            </a:xfrm>
            <a:custGeom>
              <a:avLst/>
              <a:gdLst>
                <a:gd name="T0" fmla="*/ 68 w 68"/>
                <a:gd name="T1" fmla="*/ 1 h 118"/>
                <a:gd name="T2" fmla="*/ 68 w 68"/>
                <a:gd name="T3" fmla="*/ 1 h 118"/>
                <a:gd name="T4" fmla="*/ 66 w 68"/>
                <a:gd name="T5" fmla="*/ 2 h 118"/>
                <a:gd name="T6" fmla="*/ 65 w 68"/>
                <a:gd name="T7" fmla="*/ 4 h 118"/>
                <a:gd name="T8" fmla="*/ 62 w 68"/>
                <a:gd name="T9" fmla="*/ 8 h 118"/>
                <a:gd name="T10" fmla="*/ 57 w 68"/>
                <a:gd name="T11" fmla="*/ 24 h 118"/>
                <a:gd name="T12" fmla="*/ 36 w 68"/>
                <a:gd name="T13" fmla="*/ 95 h 118"/>
                <a:gd name="T14" fmla="*/ 36 w 68"/>
                <a:gd name="T15" fmla="*/ 95 h 118"/>
                <a:gd name="T16" fmla="*/ 34 w 68"/>
                <a:gd name="T17" fmla="*/ 104 h 118"/>
                <a:gd name="T18" fmla="*/ 33 w 68"/>
                <a:gd name="T19" fmla="*/ 110 h 118"/>
                <a:gd name="T20" fmla="*/ 34 w 68"/>
                <a:gd name="T21" fmla="*/ 114 h 118"/>
                <a:gd name="T22" fmla="*/ 35 w 68"/>
                <a:gd name="T23" fmla="*/ 117 h 118"/>
                <a:gd name="T24" fmla="*/ 35 w 68"/>
                <a:gd name="T25" fmla="*/ 118 h 118"/>
                <a:gd name="T26" fmla="*/ 0 w 68"/>
                <a:gd name="T27" fmla="*/ 118 h 118"/>
                <a:gd name="T28" fmla="*/ 0 w 68"/>
                <a:gd name="T29" fmla="*/ 117 h 118"/>
                <a:gd name="T30" fmla="*/ 0 w 68"/>
                <a:gd name="T31" fmla="*/ 117 h 118"/>
                <a:gd name="T32" fmla="*/ 4 w 68"/>
                <a:gd name="T33" fmla="*/ 114 h 118"/>
                <a:gd name="T34" fmla="*/ 6 w 68"/>
                <a:gd name="T35" fmla="*/ 111 h 118"/>
                <a:gd name="T36" fmla="*/ 9 w 68"/>
                <a:gd name="T37" fmla="*/ 105 h 118"/>
                <a:gd name="T38" fmla="*/ 11 w 68"/>
                <a:gd name="T39" fmla="*/ 96 h 118"/>
                <a:gd name="T40" fmla="*/ 32 w 68"/>
                <a:gd name="T41" fmla="*/ 25 h 118"/>
                <a:gd name="T42" fmla="*/ 32 w 68"/>
                <a:gd name="T43" fmla="*/ 25 h 118"/>
                <a:gd name="T44" fmla="*/ 34 w 68"/>
                <a:gd name="T45" fmla="*/ 15 h 118"/>
                <a:gd name="T46" fmla="*/ 35 w 68"/>
                <a:gd name="T47" fmla="*/ 9 h 118"/>
                <a:gd name="T48" fmla="*/ 35 w 68"/>
                <a:gd name="T49" fmla="*/ 5 h 118"/>
                <a:gd name="T50" fmla="*/ 34 w 68"/>
                <a:gd name="T51" fmla="*/ 1 h 118"/>
                <a:gd name="T52" fmla="*/ 34 w 68"/>
                <a:gd name="T53" fmla="*/ 0 h 118"/>
                <a:gd name="T54" fmla="*/ 68 w 68"/>
                <a:gd name="T55" fmla="*/ 0 h 118"/>
                <a:gd name="T56" fmla="*/ 68 w 68"/>
                <a:gd name="T57"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118">
                  <a:moveTo>
                    <a:pt x="68" y="1"/>
                  </a:moveTo>
                  <a:lnTo>
                    <a:pt x="68" y="1"/>
                  </a:lnTo>
                  <a:lnTo>
                    <a:pt x="66" y="2"/>
                  </a:lnTo>
                  <a:lnTo>
                    <a:pt x="65" y="4"/>
                  </a:lnTo>
                  <a:lnTo>
                    <a:pt x="62" y="8"/>
                  </a:lnTo>
                  <a:lnTo>
                    <a:pt x="57" y="24"/>
                  </a:lnTo>
                  <a:lnTo>
                    <a:pt x="36" y="95"/>
                  </a:lnTo>
                  <a:lnTo>
                    <a:pt x="36" y="95"/>
                  </a:lnTo>
                  <a:lnTo>
                    <a:pt x="34" y="104"/>
                  </a:lnTo>
                  <a:lnTo>
                    <a:pt x="33" y="110"/>
                  </a:lnTo>
                  <a:lnTo>
                    <a:pt x="34" y="114"/>
                  </a:lnTo>
                  <a:lnTo>
                    <a:pt x="35" y="117"/>
                  </a:lnTo>
                  <a:lnTo>
                    <a:pt x="35" y="118"/>
                  </a:lnTo>
                  <a:lnTo>
                    <a:pt x="0" y="118"/>
                  </a:lnTo>
                  <a:lnTo>
                    <a:pt x="0" y="117"/>
                  </a:lnTo>
                  <a:lnTo>
                    <a:pt x="0" y="117"/>
                  </a:lnTo>
                  <a:lnTo>
                    <a:pt x="4" y="114"/>
                  </a:lnTo>
                  <a:lnTo>
                    <a:pt x="6" y="111"/>
                  </a:lnTo>
                  <a:lnTo>
                    <a:pt x="9" y="105"/>
                  </a:lnTo>
                  <a:lnTo>
                    <a:pt x="11" y="96"/>
                  </a:lnTo>
                  <a:lnTo>
                    <a:pt x="32" y="25"/>
                  </a:lnTo>
                  <a:lnTo>
                    <a:pt x="32" y="25"/>
                  </a:lnTo>
                  <a:lnTo>
                    <a:pt x="34" y="15"/>
                  </a:lnTo>
                  <a:lnTo>
                    <a:pt x="35" y="9"/>
                  </a:lnTo>
                  <a:lnTo>
                    <a:pt x="35" y="5"/>
                  </a:lnTo>
                  <a:lnTo>
                    <a:pt x="34" y="1"/>
                  </a:lnTo>
                  <a:lnTo>
                    <a:pt x="34" y="0"/>
                  </a:lnTo>
                  <a:lnTo>
                    <a:pt x="68" y="0"/>
                  </a:lnTo>
                  <a:lnTo>
                    <a:pt x="68"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1" name="Freeform 28"/>
            <p:cNvSpPr>
              <a:spLocks/>
            </p:cNvSpPr>
            <p:nvPr userDrawn="1"/>
          </p:nvSpPr>
          <p:spPr bwMode="invGray">
            <a:xfrm>
              <a:off x="1289051" y="1785938"/>
              <a:ext cx="138113" cy="193675"/>
            </a:xfrm>
            <a:custGeom>
              <a:avLst/>
              <a:gdLst>
                <a:gd name="T0" fmla="*/ 8 w 87"/>
                <a:gd name="T1" fmla="*/ 90 h 122"/>
                <a:gd name="T2" fmla="*/ 10 w 87"/>
                <a:gd name="T3" fmla="*/ 101 h 122"/>
                <a:gd name="T4" fmla="*/ 16 w 87"/>
                <a:gd name="T5" fmla="*/ 109 h 122"/>
                <a:gd name="T6" fmla="*/ 25 w 87"/>
                <a:gd name="T7" fmla="*/ 113 h 122"/>
                <a:gd name="T8" fmla="*/ 38 w 87"/>
                <a:gd name="T9" fmla="*/ 114 h 122"/>
                <a:gd name="T10" fmla="*/ 42 w 87"/>
                <a:gd name="T11" fmla="*/ 113 h 122"/>
                <a:gd name="T12" fmla="*/ 50 w 87"/>
                <a:gd name="T13" fmla="*/ 110 h 122"/>
                <a:gd name="T14" fmla="*/ 55 w 87"/>
                <a:gd name="T15" fmla="*/ 104 h 122"/>
                <a:gd name="T16" fmla="*/ 58 w 87"/>
                <a:gd name="T17" fmla="*/ 97 h 122"/>
                <a:gd name="T18" fmla="*/ 58 w 87"/>
                <a:gd name="T19" fmla="*/ 94 h 122"/>
                <a:gd name="T20" fmla="*/ 54 w 87"/>
                <a:gd name="T21" fmla="*/ 82 h 122"/>
                <a:gd name="T22" fmla="*/ 43 w 87"/>
                <a:gd name="T23" fmla="*/ 72 h 122"/>
                <a:gd name="T24" fmla="*/ 38 w 87"/>
                <a:gd name="T25" fmla="*/ 68 h 122"/>
                <a:gd name="T26" fmla="*/ 22 w 87"/>
                <a:gd name="T27" fmla="*/ 54 h 122"/>
                <a:gd name="T28" fmla="*/ 17 w 87"/>
                <a:gd name="T29" fmla="*/ 46 h 122"/>
                <a:gd name="T30" fmla="*/ 16 w 87"/>
                <a:gd name="T31" fmla="*/ 36 h 122"/>
                <a:gd name="T32" fmla="*/ 17 w 87"/>
                <a:gd name="T33" fmla="*/ 29 h 122"/>
                <a:gd name="T34" fmla="*/ 22 w 87"/>
                <a:gd name="T35" fmla="*/ 15 h 122"/>
                <a:gd name="T36" fmla="*/ 33 w 87"/>
                <a:gd name="T37" fmla="*/ 6 h 122"/>
                <a:gd name="T38" fmla="*/ 48 w 87"/>
                <a:gd name="T39" fmla="*/ 1 h 122"/>
                <a:gd name="T40" fmla="*/ 56 w 87"/>
                <a:gd name="T41" fmla="*/ 0 h 122"/>
                <a:gd name="T42" fmla="*/ 77 w 87"/>
                <a:gd name="T43" fmla="*/ 2 h 122"/>
                <a:gd name="T44" fmla="*/ 87 w 87"/>
                <a:gd name="T45" fmla="*/ 5 h 122"/>
                <a:gd name="T46" fmla="*/ 80 w 87"/>
                <a:gd name="T47" fmla="*/ 27 h 122"/>
                <a:gd name="T48" fmla="*/ 77 w 87"/>
                <a:gd name="T49" fmla="*/ 17 h 122"/>
                <a:gd name="T50" fmla="*/ 73 w 87"/>
                <a:gd name="T51" fmla="*/ 11 h 122"/>
                <a:gd name="T52" fmla="*/ 65 w 87"/>
                <a:gd name="T53" fmla="*/ 8 h 122"/>
                <a:gd name="T54" fmla="*/ 55 w 87"/>
                <a:gd name="T55" fmla="*/ 8 h 122"/>
                <a:gd name="T56" fmla="*/ 50 w 87"/>
                <a:gd name="T57" fmla="*/ 8 h 122"/>
                <a:gd name="T58" fmla="*/ 44 w 87"/>
                <a:gd name="T59" fmla="*/ 12 h 122"/>
                <a:gd name="T60" fmla="*/ 39 w 87"/>
                <a:gd name="T61" fmla="*/ 17 h 122"/>
                <a:gd name="T62" fmla="*/ 37 w 87"/>
                <a:gd name="T63" fmla="*/ 28 h 122"/>
                <a:gd name="T64" fmla="*/ 38 w 87"/>
                <a:gd name="T65" fmla="*/ 34 h 122"/>
                <a:gd name="T66" fmla="*/ 45 w 87"/>
                <a:gd name="T67" fmla="*/ 44 h 122"/>
                <a:gd name="T68" fmla="*/ 57 w 87"/>
                <a:gd name="T69" fmla="*/ 52 h 122"/>
                <a:gd name="T70" fmla="*/ 66 w 87"/>
                <a:gd name="T71" fmla="*/ 58 h 122"/>
                <a:gd name="T72" fmla="*/ 77 w 87"/>
                <a:gd name="T73" fmla="*/ 69 h 122"/>
                <a:gd name="T74" fmla="*/ 80 w 87"/>
                <a:gd name="T75" fmla="*/ 79 h 122"/>
                <a:gd name="T76" fmla="*/ 81 w 87"/>
                <a:gd name="T77" fmla="*/ 84 h 122"/>
                <a:gd name="T78" fmla="*/ 77 w 87"/>
                <a:gd name="T79" fmla="*/ 100 h 122"/>
                <a:gd name="T80" fmla="*/ 68 w 87"/>
                <a:gd name="T81" fmla="*/ 112 h 122"/>
                <a:gd name="T82" fmla="*/ 54 w 87"/>
                <a:gd name="T83" fmla="*/ 120 h 122"/>
                <a:gd name="T84" fmla="*/ 35 w 87"/>
                <a:gd name="T85" fmla="*/ 122 h 122"/>
                <a:gd name="T86" fmla="*/ 24 w 87"/>
                <a:gd name="T87" fmla="*/ 121 h 122"/>
                <a:gd name="T88" fmla="*/ 6 w 87"/>
                <a:gd name="T89" fmla="*/ 116 h 122"/>
                <a:gd name="T90" fmla="*/ 0 w 87"/>
                <a:gd name="T91" fmla="*/ 112 h 122"/>
                <a:gd name="T92" fmla="*/ 8 w 87"/>
                <a:gd name="T93" fmla="*/ 9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7" h="122">
                  <a:moveTo>
                    <a:pt x="8" y="90"/>
                  </a:moveTo>
                  <a:lnTo>
                    <a:pt x="8" y="90"/>
                  </a:lnTo>
                  <a:lnTo>
                    <a:pt x="9" y="96"/>
                  </a:lnTo>
                  <a:lnTo>
                    <a:pt x="10" y="101"/>
                  </a:lnTo>
                  <a:lnTo>
                    <a:pt x="13" y="106"/>
                  </a:lnTo>
                  <a:lnTo>
                    <a:pt x="16" y="109"/>
                  </a:lnTo>
                  <a:lnTo>
                    <a:pt x="20" y="112"/>
                  </a:lnTo>
                  <a:lnTo>
                    <a:pt x="25" y="113"/>
                  </a:lnTo>
                  <a:lnTo>
                    <a:pt x="31" y="114"/>
                  </a:lnTo>
                  <a:lnTo>
                    <a:pt x="38" y="114"/>
                  </a:lnTo>
                  <a:lnTo>
                    <a:pt x="38" y="114"/>
                  </a:lnTo>
                  <a:lnTo>
                    <a:pt x="42" y="113"/>
                  </a:lnTo>
                  <a:lnTo>
                    <a:pt x="46" y="112"/>
                  </a:lnTo>
                  <a:lnTo>
                    <a:pt x="50" y="110"/>
                  </a:lnTo>
                  <a:lnTo>
                    <a:pt x="53" y="107"/>
                  </a:lnTo>
                  <a:lnTo>
                    <a:pt x="55" y="104"/>
                  </a:lnTo>
                  <a:lnTo>
                    <a:pt x="57" y="101"/>
                  </a:lnTo>
                  <a:lnTo>
                    <a:pt x="58" y="97"/>
                  </a:lnTo>
                  <a:lnTo>
                    <a:pt x="58" y="94"/>
                  </a:lnTo>
                  <a:lnTo>
                    <a:pt x="58" y="94"/>
                  </a:lnTo>
                  <a:lnTo>
                    <a:pt x="57" y="88"/>
                  </a:lnTo>
                  <a:lnTo>
                    <a:pt x="54" y="82"/>
                  </a:lnTo>
                  <a:lnTo>
                    <a:pt x="50" y="77"/>
                  </a:lnTo>
                  <a:lnTo>
                    <a:pt x="43" y="72"/>
                  </a:lnTo>
                  <a:lnTo>
                    <a:pt x="38" y="68"/>
                  </a:lnTo>
                  <a:lnTo>
                    <a:pt x="38" y="68"/>
                  </a:lnTo>
                  <a:lnTo>
                    <a:pt x="29" y="62"/>
                  </a:lnTo>
                  <a:lnTo>
                    <a:pt x="22" y="54"/>
                  </a:lnTo>
                  <a:lnTo>
                    <a:pt x="20" y="51"/>
                  </a:lnTo>
                  <a:lnTo>
                    <a:pt x="17" y="46"/>
                  </a:lnTo>
                  <a:lnTo>
                    <a:pt x="16" y="41"/>
                  </a:lnTo>
                  <a:lnTo>
                    <a:pt x="16" y="36"/>
                  </a:lnTo>
                  <a:lnTo>
                    <a:pt x="16" y="36"/>
                  </a:lnTo>
                  <a:lnTo>
                    <a:pt x="17" y="29"/>
                  </a:lnTo>
                  <a:lnTo>
                    <a:pt x="19" y="22"/>
                  </a:lnTo>
                  <a:lnTo>
                    <a:pt x="22" y="15"/>
                  </a:lnTo>
                  <a:lnTo>
                    <a:pt x="27" y="10"/>
                  </a:lnTo>
                  <a:lnTo>
                    <a:pt x="33" y="6"/>
                  </a:lnTo>
                  <a:lnTo>
                    <a:pt x="40" y="3"/>
                  </a:lnTo>
                  <a:lnTo>
                    <a:pt x="48" y="1"/>
                  </a:lnTo>
                  <a:lnTo>
                    <a:pt x="56" y="0"/>
                  </a:lnTo>
                  <a:lnTo>
                    <a:pt x="56" y="0"/>
                  </a:lnTo>
                  <a:lnTo>
                    <a:pt x="67" y="0"/>
                  </a:lnTo>
                  <a:lnTo>
                    <a:pt x="77" y="2"/>
                  </a:lnTo>
                  <a:lnTo>
                    <a:pt x="77" y="2"/>
                  </a:lnTo>
                  <a:lnTo>
                    <a:pt x="87" y="5"/>
                  </a:lnTo>
                  <a:lnTo>
                    <a:pt x="82" y="27"/>
                  </a:lnTo>
                  <a:lnTo>
                    <a:pt x="80" y="27"/>
                  </a:lnTo>
                  <a:lnTo>
                    <a:pt x="80" y="27"/>
                  </a:lnTo>
                  <a:lnTo>
                    <a:pt x="77" y="17"/>
                  </a:lnTo>
                  <a:lnTo>
                    <a:pt x="75" y="14"/>
                  </a:lnTo>
                  <a:lnTo>
                    <a:pt x="73" y="11"/>
                  </a:lnTo>
                  <a:lnTo>
                    <a:pt x="70" y="9"/>
                  </a:lnTo>
                  <a:lnTo>
                    <a:pt x="65" y="8"/>
                  </a:lnTo>
                  <a:lnTo>
                    <a:pt x="61" y="7"/>
                  </a:lnTo>
                  <a:lnTo>
                    <a:pt x="55" y="8"/>
                  </a:lnTo>
                  <a:lnTo>
                    <a:pt x="55" y="8"/>
                  </a:lnTo>
                  <a:lnTo>
                    <a:pt x="50" y="8"/>
                  </a:lnTo>
                  <a:lnTo>
                    <a:pt x="47" y="10"/>
                  </a:lnTo>
                  <a:lnTo>
                    <a:pt x="44" y="12"/>
                  </a:lnTo>
                  <a:lnTo>
                    <a:pt x="41" y="14"/>
                  </a:lnTo>
                  <a:lnTo>
                    <a:pt x="39" y="17"/>
                  </a:lnTo>
                  <a:lnTo>
                    <a:pt x="38" y="21"/>
                  </a:lnTo>
                  <a:lnTo>
                    <a:pt x="37" y="28"/>
                  </a:lnTo>
                  <a:lnTo>
                    <a:pt x="37" y="28"/>
                  </a:lnTo>
                  <a:lnTo>
                    <a:pt x="38" y="34"/>
                  </a:lnTo>
                  <a:lnTo>
                    <a:pt x="40" y="39"/>
                  </a:lnTo>
                  <a:lnTo>
                    <a:pt x="45" y="44"/>
                  </a:lnTo>
                  <a:lnTo>
                    <a:pt x="52" y="48"/>
                  </a:lnTo>
                  <a:lnTo>
                    <a:pt x="57" y="52"/>
                  </a:lnTo>
                  <a:lnTo>
                    <a:pt x="57" y="52"/>
                  </a:lnTo>
                  <a:lnTo>
                    <a:pt x="66" y="58"/>
                  </a:lnTo>
                  <a:lnTo>
                    <a:pt x="74" y="65"/>
                  </a:lnTo>
                  <a:lnTo>
                    <a:pt x="77" y="69"/>
                  </a:lnTo>
                  <a:lnTo>
                    <a:pt x="79" y="74"/>
                  </a:lnTo>
                  <a:lnTo>
                    <a:pt x="80" y="79"/>
                  </a:lnTo>
                  <a:lnTo>
                    <a:pt x="81" y="84"/>
                  </a:lnTo>
                  <a:lnTo>
                    <a:pt x="81" y="84"/>
                  </a:lnTo>
                  <a:lnTo>
                    <a:pt x="80" y="93"/>
                  </a:lnTo>
                  <a:lnTo>
                    <a:pt x="77" y="100"/>
                  </a:lnTo>
                  <a:lnTo>
                    <a:pt x="73" y="107"/>
                  </a:lnTo>
                  <a:lnTo>
                    <a:pt x="68" y="112"/>
                  </a:lnTo>
                  <a:lnTo>
                    <a:pt x="62" y="116"/>
                  </a:lnTo>
                  <a:lnTo>
                    <a:pt x="54" y="120"/>
                  </a:lnTo>
                  <a:lnTo>
                    <a:pt x="45" y="122"/>
                  </a:lnTo>
                  <a:lnTo>
                    <a:pt x="35" y="122"/>
                  </a:lnTo>
                  <a:lnTo>
                    <a:pt x="35" y="122"/>
                  </a:lnTo>
                  <a:lnTo>
                    <a:pt x="24" y="121"/>
                  </a:lnTo>
                  <a:lnTo>
                    <a:pt x="14" y="119"/>
                  </a:lnTo>
                  <a:lnTo>
                    <a:pt x="6" y="116"/>
                  </a:lnTo>
                  <a:lnTo>
                    <a:pt x="0" y="112"/>
                  </a:lnTo>
                  <a:lnTo>
                    <a:pt x="0" y="112"/>
                  </a:lnTo>
                  <a:lnTo>
                    <a:pt x="6" y="90"/>
                  </a:lnTo>
                  <a:lnTo>
                    <a:pt x="8" y="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2" name="Freeform 29"/>
            <p:cNvSpPr>
              <a:spLocks/>
            </p:cNvSpPr>
            <p:nvPr userDrawn="1"/>
          </p:nvSpPr>
          <p:spPr bwMode="invGray">
            <a:xfrm>
              <a:off x="1760538" y="1789113"/>
              <a:ext cx="166688" cy="187325"/>
            </a:xfrm>
            <a:custGeom>
              <a:avLst/>
              <a:gdLst>
                <a:gd name="T0" fmla="*/ 105 w 105"/>
                <a:gd name="T1" fmla="*/ 0 h 118"/>
                <a:gd name="T2" fmla="*/ 105 w 105"/>
                <a:gd name="T3" fmla="*/ 0 h 118"/>
                <a:gd name="T4" fmla="*/ 98 w 105"/>
                <a:gd name="T5" fmla="*/ 22 h 118"/>
                <a:gd name="T6" fmla="*/ 97 w 105"/>
                <a:gd name="T7" fmla="*/ 22 h 118"/>
                <a:gd name="T8" fmla="*/ 97 w 105"/>
                <a:gd name="T9" fmla="*/ 22 h 118"/>
                <a:gd name="T10" fmla="*/ 95 w 105"/>
                <a:gd name="T11" fmla="*/ 16 h 118"/>
                <a:gd name="T12" fmla="*/ 92 w 105"/>
                <a:gd name="T13" fmla="*/ 13 h 118"/>
                <a:gd name="T14" fmla="*/ 88 w 105"/>
                <a:gd name="T15" fmla="*/ 10 h 118"/>
                <a:gd name="T16" fmla="*/ 84 w 105"/>
                <a:gd name="T17" fmla="*/ 9 h 118"/>
                <a:gd name="T18" fmla="*/ 76 w 105"/>
                <a:gd name="T19" fmla="*/ 8 h 118"/>
                <a:gd name="T20" fmla="*/ 69 w 105"/>
                <a:gd name="T21" fmla="*/ 8 h 118"/>
                <a:gd name="T22" fmla="*/ 68 w 105"/>
                <a:gd name="T23" fmla="*/ 8 h 118"/>
                <a:gd name="T24" fmla="*/ 68 w 105"/>
                <a:gd name="T25" fmla="*/ 8 h 118"/>
                <a:gd name="T26" fmla="*/ 64 w 105"/>
                <a:gd name="T27" fmla="*/ 9 h 118"/>
                <a:gd name="T28" fmla="*/ 61 w 105"/>
                <a:gd name="T29" fmla="*/ 10 h 118"/>
                <a:gd name="T30" fmla="*/ 59 w 105"/>
                <a:gd name="T31" fmla="*/ 12 h 118"/>
                <a:gd name="T32" fmla="*/ 58 w 105"/>
                <a:gd name="T33" fmla="*/ 16 h 118"/>
                <a:gd name="T34" fmla="*/ 48 w 105"/>
                <a:gd name="T35" fmla="*/ 55 h 118"/>
                <a:gd name="T36" fmla="*/ 51 w 105"/>
                <a:gd name="T37" fmla="*/ 55 h 118"/>
                <a:gd name="T38" fmla="*/ 51 w 105"/>
                <a:gd name="T39" fmla="*/ 55 h 118"/>
                <a:gd name="T40" fmla="*/ 62 w 105"/>
                <a:gd name="T41" fmla="*/ 55 h 118"/>
                <a:gd name="T42" fmla="*/ 71 w 105"/>
                <a:gd name="T43" fmla="*/ 55 h 118"/>
                <a:gd name="T44" fmla="*/ 78 w 105"/>
                <a:gd name="T45" fmla="*/ 53 h 118"/>
                <a:gd name="T46" fmla="*/ 81 w 105"/>
                <a:gd name="T47" fmla="*/ 52 h 118"/>
                <a:gd name="T48" fmla="*/ 83 w 105"/>
                <a:gd name="T49" fmla="*/ 50 h 118"/>
                <a:gd name="T50" fmla="*/ 84 w 105"/>
                <a:gd name="T51" fmla="*/ 50 h 118"/>
                <a:gd name="T52" fmla="*/ 78 w 105"/>
                <a:gd name="T53" fmla="*/ 71 h 118"/>
                <a:gd name="T54" fmla="*/ 77 w 105"/>
                <a:gd name="T55" fmla="*/ 71 h 118"/>
                <a:gd name="T56" fmla="*/ 77 w 105"/>
                <a:gd name="T57" fmla="*/ 71 h 118"/>
                <a:gd name="T58" fmla="*/ 75 w 105"/>
                <a:gd name="T59" fmla="*/ 68 h 118"/>
                <a:gd name="T60" fmla="*/ 73 w 105"/>
                <a:gd name="T61" fmla="*/ 66 h 118"/>
                <a:gd name="T62" fmla="*/ 70 w 105"/>
                <a:gd name="T63" fmla="*/ 65 h 118"/>
                <a:gd name="T64" fmla="*/ 67 w 105"/>
                <a:gd name="T65" fmla="*/ 64 h 118"/>
                <a:gd name="T66" fmla="*/ 58 w 105"/>
                <a:gd name="T67" fmla="*/ 63 h 118"/>
                <a:gd name="T68" fmla="*/ 48 w 105"/>
                <a:gd name="T69" fmla="*/ 63 h 118"/>
                <a:gd name="T70" fmla="*/ 45 w 105"/>
                <a:gd name="T71" fmla="*/ 63 h 118"/>
                <a:gd name="T72" fmla="*/ 36 w 105"/>
                <a:gd name="T73" fmla="*/ 95 h 118"/>
                <a:gd name="T74" fmla="*/ 36 w 105"/>
                <a:gd name="T75" fmla="*/ 95 h 118"/>
                <a:gd name="T76" fmla="*/ 34 w 105"/>
                <a:gd name="T77" fmla="*/ 103 h 118"/>
                <a:gd name="T78" fmla="*/ 32 w 105"/>
                <a:gd name="T79" fmla="*/ 109 h 118"/>
                <a:gd name="T80" fmla="*/ 33 w 105"/>
                <a:gd name="T81" fmla="*/ 114 h 118"/>
                <a:gd name="T82" fmla="*/ 34 w 105"/>
                <a:gd name="T83" fmla="*/ 117 h 118"/>
                <a:gd name="T84" fmla="*/ 34 w 105"/>
                <a:gd name="T85" fmla="*/ 118 h 118"/>
                <a:gd name="T86" fmla="*/ 0 w 105"/>
                <a:gd name="T87" fmla="*/ 118 h 118"/>
                <a:gd name="T88" fmla="*/ 0 w 105"/>
                <a:gd name="T89" fmla="*/ 117 h 118"/>
                <a:gd name="T90" fmla="*/ 0 w 105"/>
                <a:gd name="T91" fmla="*/ 117 h 118"/>
                <a:gd name="T92" fmla="*/ 3 w 105"/>
                <a:gd name="T93" fmla="*/ 114 h 118"/>
                <a:gd name="T94" fmla="*/ 6 w 105"/>
                <a:gd name="T95" fmla="*/ 110 h 118"/>
                <a:gd name="T96" fmla="*/ 8 w 105"/>
                <a:gd name="T97" fmla="*/ 104 h 118"/>
                <a:gd name="T98" fmla="*/ 11 w 105"/>
                <a:gd name="T99" fmla="*/ 96 h 118"/>
                <a:gd name="T100" fmla="*/ 32 w 105"/>
                <a:gd name="T101" fmla="*/ 24 h 118"/>
                <a:gd name="T102" fmla="*/ 32 w 105"/>
                <a:gd name="T103" fmla="*/ 24 h 118"/>
                <a:gd name="T104" fmla="*/ 34 w 105"/>
                <a:gd name="T105" fmla="*/ 15 h 118"/>
                <a:gd name="T106" fmla="*/ 35 w 105"/>
                <a:gd name="T107" fmla="*/ 9 h 118"/>
                <a:gd name="T108" fmla="*/ 35 w 105"/>
                <a:gd name="T109" fmla="*/ 5 h 118"/>
                <a:gd name="T110" fmla="*/ 33 w 105"/>
                <a:gd name="T111" fmla="*/ 1 h 118"/>
                <a:gd name="T112" fmla="*/ 33 w 105"/>
                <a:gd name="T113" fmla="*/ 0 h 118"/>
                <a:gd name="T114" fmla="*/ 105 w 105"/>
                <a:gd name="T11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 h="118">
                  <a:moveTo>
                    <a:pt x="105" y="0"/>
                  </a:moveTo>
                  <a:lnTo>
                    <a:pt x="105" y="0"/>
                  </a:lnTo>
                  <a:lnTo>
                    <a:pt x="98" y="22"/>
                  </a:lnTo>
                  <a:lnTo>
                    <a:pt x="97" y="22"/>
                  </a:lnTo>
                  <a:lnTo>
                    <a:pt x="97" y="22"/>
                  </a:lnTo>
                  <a:lnTo>
                    <a:pt x="95" y="16"/>
                  </a:lnTo>
                  <a:lnTo>
                    <a:pt x="92" y="13"/>
                  </a:lnTo>
                  <a:lnTo>
                    <a:pt x="88" y="10"/>
                  </a:lnTo>
                  <a:lnTo>
                    <a:pt x="84" y="9"/>
                  </a:lnTo>
                  <a:lnTo>
                    <a:pt x="76" y="8"/>
                  </a:lnTo>
                  <a:lnTo>
                    <a:pt x="69" y="8"/>
                  </a:lnTo>
                  <a:lnTo>
                    <a:pt x="68" y="8"/>
                  </a:lnTo>
                  <a:lnTo>
                    <a:pt x="68" y="8"/>
                  </a:lnTo>
                  <a:lnTo>
                    <a:pt x="64" y="9"/>
                  </a:lnTo>
                  <a:lnTo>
                    <a:pt x="61" y="10"/>
                  </a:lnTo>
                  <a:lnTo>
                    <a:pt x="59" y="12"/>
                  </a:lnTo>
                  <a:lnTo>
                    <a:pt x="58" y="16"/>
                  </a:lnTo>
                  <a:lnTo>
                    <a:pt x="48" y="55"/>
                  </a:lnTo>
                  <a:lnTo>
                    <a:pt x="51" y="55"/>
                  </a:lnTo>
                  <a:lnTo>
                    <a:pt x="51" y="55"/>
                  </a:lnTo>
                  <a:lnTo>
                    <a:pt x="62" y="55"/>
                  </a:lnTo>
                  <a:lnTo>
                    <a:pt x="71" y="55"/>
                  </a:lnTo>
                  <a:lnTo>
                    <a:pt x="78" y="53"/>
                  </a:lnTo>
                  <a:lnTo>
                    <a:pt x="81" y="52"/>
                  </a:lnTo>
                  <a:lnTo>
                    <a:pt x="83" y="50"/>
                  </a:lnTo>
                  <a:lnTo>
                    <a:pt x="84" y="50"/>
                  </a:lnTo>
                  <a:lnTo>
                    <a:pt x="78" y="71"/>
                  </a:lnTo>
                  <a:lnTo>
                    <a:pt x="77" y="71"/>
                  </a:lnTo>
                  <a:lnTo>
                    <a:pt x="77" y="71"/>
                  </a:lnTo>
                  <a:lnTo>
                    <a:pt x="75" y="68"/>
                  </a:lnTo>
                  <a:lnTo>
                    <a:pt x="73" y="66"/>
                  </a:lnTo>
                  <a:lnTo>
                    <a:pt x="70" y="65"/>
                  </a:lnTo>
                  <a:lnTo>
                    <a:pt x="67" y="64"/>
                  </a:lnTo>
                  <a:lnTo>
                    <a:pt x="58" y="63"/>
                  </a:lnTo>
                  <a:lnTo>
                    <a:pt x="48" y="63"/>
                  </a:lnTo>
                  <a:lnTo>
                    <a:pt x="45" y="63"/>
                  </a:lnTo>
                  <a:lnTo>
                    <a:pt x="36" y="95"/>
                  </a:lnTo>
                  <a:lnTo>
                    <a:pt x="36" y="95"/>
                  </a:lnTo>
                  <a:lnTo>
                    <a:pt x="34" y="103"/>
                  </a:lnTo>
                  <a:lnTo>
                    <a:pt x="32" y="109"/>
                  </a:lnTo>
                  <a:lnTo>
                    <a:pt x="33" y="114"/>
                  </a:lnTo>
                  <a:lnTo>
                    <a:pt x="34" y="117"/>
                  </a:lnTo>
                  <a:lnTo>
                    <a:pt x="34" y="118"/>
                  </a:lnTo>
                  <a:lnTo>
                    <a:pt x="0" y="118"/>
                  </a:lnTo>
                  <a:lnTo>
                    <a:pt x="0" y="117"/>
                  </a:lnTo>
                  <a:lnTo>
                    <a:pt x="0" y="117"/>
                  </a:lnTo>
                  <a:lnTo>
                    <a:pt x="3" y="114"/>
                  </a:lnTo>
                  <a:lnTo>
                    <a:pt x="6" y="110"/>
                  </a:lnTo>
                  <a:lnTo>
                    <a:pt x="8" y="104"/>
                  </a:lnTo>
                  <a:lnTo>
                    <a:pt x="11" y="96"/>
                  </a:lnTo>
                  <a:lnTo>
                    <a:pt x="32" y="24"/>
                  </a:lnTo>
                  <a:lnTo>
                    <a:pt x="32" y="24"/>
                  </a:lnTo>
                  <a:lnTo>
                    <a:pt x="34" y="15"/>
                  </a:lnTo>
                  <a:lnTo>
                    <a:pt x="35" y="9"/>
                  </a:lnTo>
                  <a:lnTo>
                    <a:pt x="35" y="5"/>
                  </a:lnTo>
                  <a:lnTo>
                    <a:pt x="33" y="1"/>
                  </a:lnTo>
                  <a:lnTo>
                    <a:pt x="33" y="0"/>
                  </a:lnTo>
                  <a:lnTo>
                    <a:pt x="10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3" name="Freeform 30"/>
            <p:cNvSpPr>
              <a:spLocks/>
            </p:cNvSpPr>
            <p:nvPr userDrawn="1"/>
          </p:nvSpPr>
          <p:spPr bwMode="invGray">
            <a:xfrm>
              <a:off x="1925638" y="1789113"/>
              <a:ext cx="150813" cy="187325"/>
            </a:xfrm>
            <a:custGeom>
              <a:avLst/>
              <a:gdLst>
                <a:gd name="T0" fmla="*/ 95 w 95"/>
                <a:gd name="T1" fmla="*/ 0 h 118"/>
                <a:gd name="T2" fmla="*/ 95 w 95"/>
                <a:gd name="T3" fmla="*/ 0 h 118"/>
                <a:gd name="T4" fmla="*/ 89 w 95"/>
                <a:gd name="T5" fmla="*/ 22 h 118"/>
                <a:gd name="T6" fmla="*/ 87 w 95"/>
                <a:gd name="T7" fmla="*/ 22 h 118"/>
                <a:gd name="T8" fmla="*/ 87 w 95"/>
                <a:gd name="T9" fmla="*/ 22 h 118"/>
                <a:gd name="T10" fmla="*/ 85 w 95"/>
                <a:gd name="T11" fmla="*/ 16 h 118"/>
                <a:gd name="T12" fmla="*/ 82 w 95"/>
                <a:gd name="T13" fmla="*/ 13 h 118"/>
                <a:gd name="T14" fmla="*/ 78 w 95"/>
                <a:gd name="T15" fmla="*/ 11 h 118"/>
                <a:gd name="T16" fmla="*/ 75 w 95"/>
                <a:gd name="T17" fmla="*/ 9 h 118"/>
                <a:gd name="T18" fmla="*/ 67 w 95"/>
                <a:gd name="T19" fmla="*/ 8 h 118"/>
                <a:gd name="T20" fmla="*/ 61 w 95"/>
                <a:gd name="T21" fmla="*/ 8 h 118"/>
                <a:gd name="T22" fmla="*/ 60 w 95"/>
                <a:gd name="T23" fmla="*/ 8 h 118"/>
                <a:gd name="T24" fmla="*/ 35 w 95"/>
                <a:gd name="T25" fmla="*/ 95 h 118"/>
                <a:gd name="T26" fmla="*/ 35 w 95"/>
                <a:gd name="T27" fmla="*/ 95 h 118"/>
                <a:gd name="T28" fmla="*/ 32 w 95"/>
                <a:gd name="T29" fmla="*/ 110 h 118"/>
                <a:gd name="T30" fmla="*/ 32 w 95"/>
                <a:gd name="T31" fmla="*/ 114 h 118"/>
                <a:gd name="T32" fmla="*/ 34 w 95"/>
                <a:gd name="T33" fmla="*/ 117 h 118"/>
                <a:gd name="T34" fmla="*/ 34 w 95"/>
                <a:gd name="T35" fmla="*/ 118 h 118"/>
                <a:gd name="T36" fmla="*/ 0 w 95"/>
                <a:gd name="T37" fmla="*/ 118 h 118"/>
                <a:gd name="T38" fmla="*/ 0 w 95"/>
                <a:gd name="T39" fmla="*/ 117 h 118"/>
                <a:gd name="T40" fmla="*/ 0 w 95"/>
                <a:gd name="T41" fmla="*/ 117 h 118"/>
                <a:gd name="T42" fmla="*/ 4 w 95"/>
                <a:gd name="T43" fmla="*/ 114 h 118"/>
                <a:gd name="T44" fmla="*/ 6 w 95"/>
                <a:gd name="T45" fmla="*/ 110 h 118"/>
                <a:gd name="T46" fmla="*/ 8 w 95"/>
                <a:gd name="T47" fmla="*/ 104 h 118"/>
                <a:gd name="T48" fmla="*/ 11 w 95"/>
                <a:gd name="T49" fmla="*/ 95 h 118"/>
                <a:gd name="T50" fmla="*/ 36 w 95"/>
                <a:gd name="T51" fmla="*/ 8 h 118"/>
                <a:gd name="T52" fmla="*/ 33 w 95"/>
                <a:gd name="T53" fmla="*/ 8 h 118"/>
                <a:gd name="T54" fmla="*/ 33 w 95"/>
                <a:gd name="T55" fmla="*/ 8 h 118"/>
                <a:gd name="T56" fmla="*/ 26 w 95"/>
                <a:gd name="T57" fmla="*/ 8 h 118"/>
                <a:gd name="T58" fmla="*/ 19 w 95"/>
                <a:gd name="T59" fmla="*/ 9 h 118"/>
                <a:gd name="T60" fmla="*/ 15 w 95"/>
                <a:gd name="T61" fmla="*/ 11 h 118"/>
                <a:gd name="T62" fmla="*/ 11 w 95"/>
                <a:gd name="T63" fmla="*/ 13 h 118"/>
                <a:gd name="T64" fmla="*/ 7 w 95"/>
                <a:gd name="T65" fmla="*/ 16 h 118"/>
                <a:gd name="T66" fmla="*/ 3 w 95"/>
                <a:gd name="T67" fmla="*/ 22 h 118"/>
                <a:gd name="T68" fmla="*/ 1 w 95"/>
                <a:gd name="T69" fmla="*/ 22 h 118"/>
                <a:gd name="T70" fmla="*/ 1 w 95"/>
                <a:gd name="T71" fmla="*/ 22 h 118"/>
                <a:gd name="T72" fmla="*/ 8 w 95"/>
                <a:gd name="T73" fmla="*/ 0 h 118"/>
                <a:gd name="T74" fmla="*/ 95 w 95"/>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118">
                  <a:moveTo>
                    <a:pt x="95" y="0"/>
                  </a:moveTo>
                  <a:lnTo>
                    <a:pt x="95" y="0"/>
                  </a:lnTo>
                  <a:lnTo>
                    <a:pt x="89" y="22"/>
                  </a:lnTo>
                  <a:lnTo>
                    <a:pt x="87" y="22"/>
                  </a:lnTo>
                  <a:lnTo>
                    <a:pt x="87" y="22"/>
                  </a:lnTo>
                  <a:lnTo>
                    <a:pt x="85" y="16"/>
                  </a:lnTo>
                  <a:lnTo>
                    <a:pt x="82" y="13"/>
                  </a:lnTo>
                  <a:lnTo>
                    <a:pt x="78" y="11"/>
                  </a:lnTo>
                  <a:lnTo>
                    <a:pt x="75" y="9"/>
                  </a:lnTo>
                  <a:lnTo>
                    <a:pt x="67" y="8"/>
                  </a:lnTo>
                  <a:lnTo>
                    <a:pt x="61" y="8"/>
                  </a:lnTo>
                  <a:lnTo>
                    <a:pt x="60" y="8"/>
                  </a:lnTo>
                  <a:lnTo>
                    <a:pt x="35" y="95"/>
                  </a:lnTo>
                  <a:lnTo>
                    <a:pt x="35" y="95"/>
                  </a:lnTo>
                  <a:lnTo>
                    <a:pt x="32" y="110"/>
                  </a:lnTo>
                  <a:lnTo>
                    <a:pt x="32" y="114"/>
                  </a:lnTo>
                  <a:lnTo>
                    <a:pt x="34" y="117"/>
                  </a:lnTo>
                  <a:lnTo>
                    <a:pt x="34" y="118"/>
                  </a:lnTo>
                  <a:lnTo>
                    <a:pt x="0" y="118"/>
                  </a:lnTo>
                  <a:lnTo>
                    <a:pt x="0" y="117"/>
                  </a:lnTo>
                  <a:lnTo>
                    <a:pt x="0" y="117"/>
                  </a:lnTo>
                  <a:lnTo>
                    <a:pt x="4" y="114"/>
                  </a:lnTo>
                  <a:lnTo>
                    <a:pt x="6" y="110"/>
                  </a:lnTo>
                  <a:lnTo>
                    <a:pt x="8" y="104"/>
                  </a:lnTo>
                  <a:lnTo>
                    <a:pt x="11" y="95"/>
                  </a:lnTo>
                  <a:lnTo>
                    <a:pt x="36" y="8"/>
                  </a:lnTo>
                  <a:lnTo>
                    <a:pt x="33" y="8"/>
                  </a:lnTo>
                  <a:lnTo>
                    <a:pt x="33" y="8"/>
                  </a:lnTo>
                  <a:lnTo>
                    <a:pt x="26" y="8"/>
                  </a:lnTo>
                  <a:lnTo>
                    <a:pt x="19" y="9"/>
                  </a:lnTo>
                  <a:lnTo>
                    <a:pt x="15" y="11"/>
                  </a:lnTo>
                  <a:lnTo>
                    <a:pt x="11" y="13"/>
                  </a:lnTo>
                  <a:lnTo>
                    <a:pt x="7" y="16"/>
                  </a:lnTo>
                  <a:lnTo>
                    <a:pt x="3" y="22"/>
                  </a:lnTo>
                  <a:lnTo>
                    <a:pt x="1" y="22"/>
                  </a:lnTo>
                  <a:lnTo>
                    <a:pt x="1" y="22"/>
                  </a:lnTo>
                  <a:lnTo>
                    <a:pt x="8" y="0"/>
                  </a:lnTo>
                  <a:lnTo>
                    <a:pt x="9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sp>
          <p:nvSpPr>
            <p:cNvPr id="24" name="Freeform 31"/>
            <p:cNvSpPr>
              <a:spLocks/>
            </p:cNvSpPr>
            <p:nvPr userDrawn="1"/>
          </p:nvSpPr>
          <p:spPr bwMode="invGray">
            <a:xfrm>
              <a:off x="1447801" y="1789113"/>
              <a:ext cx="238125" cy="187325"/>
            </a:xfrm>
            <a:custGeom>
              <a:avLst/>
              <a:gdLst>
                <a:gd name="T0" fmla="*/ 150 w 150"/>
                <a:gd name="T1" fmla="*/ 1 h 118"/>
                <a:gd name="T2" fmla="*/ 150 w 150"/>
                <a:gd name="T3" fmla="*/ 1 h 118"/>
                <a:gd name="T4" fmla="*/ 147 w 150"/>
                <a:gd name="T5" fmla="*/ 5 h 118"/>
                <a:gd name="T6" fmla="*/ 144 w 150"/>
                <a:gd name="T7" fmla="*/ 9 h 118"/>
                <a:gd name="T8" fmla="*/ 136 w 150"/>
                <a:gd name="T9" fmla="*/ 23 h 118"/>
                <a:gd name="T10" fmla="*/ 136 w 150"/>
                <a:gd name="T11" fmla="*/ 23 h 118"/>
                <a:gd name="T12" fmla="*/ 108 w 150"/>
                <a:gd name="T13" fmla="*/ 76 h 118"/>
                <a:gd name="T14" fmla="*/ 87 w 150"/>
                <a:gd name="T15" fmla="*/ 118 h 118"/>
                <a:gd name="T16" fmla="*/ 74 w 150"/>
                <a:gd name="T17" fmla="*/ 118 h 118"/>
                <a:gd name="T18" fmla="*/ 67 w 150"/>
                <a:gd name="T19" fmla="*/ 44 h 118"/>
                <a:gd name="T20" fmla="*/ 66 w 150"/>
                <a:gd name="T21" fmla="*/ 44 h 118"/>
                <a:gd name="T22" fmla="*/ 26 w 150"/>
                <a:gd name="T23" fmla="*/ 118 h 118"/>
                <a:gd name="T24" fmla="*/ 15 w 150"/>
                <a:gd name="T25" fmla="*/ 118 h 118"/>
                <a:gd name="T26" fmla="*/ 5 w 150"/>
                <a:gd name="T27" fmla="*/ 24 h 118"/>
                <a:gd name="T28" fmla="*/ 5 w 150"/>
                <a:gd name="T29" fmla="*/ 24 h 118"/>
                <a:gd name="T30" fmla="*/ 4 w 150"/>
                <a:gd name="T31" fmla="*/ 9 h 118"/>
                <a:gd name="T32" fmla="*/ 2 w 150"/>
                <a:gd name="T33" fmla="*/ 5 h 118"/>
                <a:gd name="T34" fmla="*/ 0 w 150"/>
                <a:gd name="T35" fmla="*/ 1 h 118"/>
                <a:gd name="T36" fmla="*/ 0 w 150"/>
                <a:gd name="T37" fmla="*/ 0 h 118"/>
                <a:gd name="T38" fmla="*/ 33 w 150"/>
                <a:gd name="T39" fmla="*/ 0 h 118"/>
                <a:gd name="T40" fmla="*/ 33 w 150"/>
                <a:gd name="T41" fmla="*/ 1 h 118"/>
                <a:gd name="T42" fmla="*/ 33 w 150"/>
                <a:gd name="T43" fmla="*/ 1 h 118"/>
                <a:gd name="T44" fmla="*/ 31 w 150"/>
                <a:gd name="T45" fmla="*/ 5 h 118"/>
                <a:gd name="T46" fmla="*/ 29 w 150"/>
                <a:gd name="T47" fmla="*/ 9 h 118"/>
                <a:gd name="T48" fmla="*/ 29 w 150"/>
                <a:gd name="T49" fmla="*/ 14 h 118"/>
                <a:gd name="T50" fmla="*/ 29 w 150"/>
                <a:gd name="T51" fmla="*/ 23 h 118"/>
                <a:gd name="T52" fmla="*/ 35 w 150"/>
                <a:gd name="T53" fmla="*/ 79 h 118"/>
                <a:gd name="T54" fmla="*/ 35 w 150"/>
                <a:gd name="T55" fmla="*/ 79 h 118"/>
                <a:gd name="T56" fmla="*/ 77 w 150"/>
                <a:gd name="T57" fmla="*/ 1 h 118"/>
                <a:gd name="T58" fmla="*/ 86 w 150"/>
                <a:gd name="T59" fmla="*/ 1 h 118"/>
                <a:gd name="T60" fmla="*/ 93 w 150"/>
                <a:gd name="T61" fmla="*/ 79 h 118"/>
                <a:gd name="T62" fmla="*/ 94 w 150"/>
                <a:gd name="T63" fmla="*/ 79 h 118"/>
                <a:gd name="T64" fmla="*/ 94 w 150"/>
                <a:gd name="T65" fmla="*/ 79 h 118"/>
                <a:gd name="T66" fmla="*/ 124 w 150"/>
                <a:gd name="T67" fmla="*/ 21 h 118"/>
                <a:gd name="T68" fmla="*/ 124 w 150"/>
                <a:gd name="T69" fmla="*/ 21 h 118"/>
                <a:gd name="T70" fmla="*/ 128 w 150"/>
                <a:gd name="T71" fmla="*/ 12 h 118"/>
                <a:gd name="T72" fmla="*/ 129 w 150"/>
                <a:gd name="T73" fmla="*/ 6 h 118"/>
                <a:gd name="T74" fmla="*/ 129 w 150"/>
                <a:gd name="T75" fmla="*/ 3 h 118"/>
                <a:gd name="T76" fmla="*/ 128 w 150"/>
                <a:gd name="T77" fmla="*/ 1 h 118"/>
                <a:gd name="T78" fmla="*/ 128 w 150"/>
                <a:gd name="T79" fmla="*/ 0 h 118"/>
                <a:gd name="T80" fmla="*/ 150 w 150"/>
                <a:gd name="T81" fmla="*/ 0 h 118"/>
                <a:gd name="T82" fmla="*/ 150 w 150"/>
                <a:gd name="T83" fmla="*/ 1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0" h="118">
                  <a:moveTo>
                    <a:pt x="150" y="1"/>
                  </a:moveTo>
                  <a:lnTo>
                    <a:pt x="150" y="1"/>
                  </a:lnTo>
                  <a:lnTo>
                    <a:pt x="147" y="5"/>
                  </a:lnTo>
                  <a:lnTo>
                    <a:pt x="144" y="9"/>
                  </a:lnTo>
                  <a:lnTo>
                    <a:pt x="136" y="23"/>
                  </a:lnTo>
                  <a:lnTo>
                    <a:pt x="136" y="23"/>
                  </a:lnTo>
                  <a:lnTo>
                    <a:pt x="108" y="76"/>
                  </a:lnTo>
                  <a:lnTo>
                    <a:pt x="87" y="118"/>
                  </a:lnTo>
                  <a:lnTo>
                    <a:pt x="74" y="118"/>
                  </a:lnTo>
                  <a:lnTo>
                    <a:pt x="67" y="44"/>
                  </a:lnTo>
                  <a:lnTo>
                    <a:pt x="66" y="44"/>
                  </a:lnTo>
                  <a:lnTo>
                    <a:pt x="26" y="118"/>
                  </a:lnTo>
                  <a:lnTo>
                    <a:pt x="15" y="118"/>
                  </a:lnTo>
                  <a:lnTo>
                    <a:pt x="5" y="24"/>
                  </a:lnTo>
                  <a:lnTo>
                    <a:pt x="5" y="24"/>
                  </a:lnTo>
                  <a:lnTo>
                    <a:pt x="4" y="9"/>
                  </a:lnTo>
                  <a:lnTo>
                    <a:pt x="2" y="5"/>
                  </a:lnTo>
                  <a:lnTo>
                    <a:pt x="0" y="1"/>
                  </a:lnTo>
                  <a:lnTo>
                    <a:pt x="0" y="0"/>
                  </a:lnTo>
                  <a:lnTo>
                    <a:pt x="33" y="0"/>
                  </a:lnTo>
                  <a:lnTo>
                    <a:pt x="33" y="1"/>
                  </a:lnTo>
                  <a:lnTo>
                    <a:pt x="33" y="1"/>
                  </a:lnTo>
                  <a:lnTo>
                    <a:pt x="31" y="5"/>
                  </a:lnTo>
                  <a:lnTo>
                    <a:pt x="29" y="9"/>
                  </a:lnTo>
                  <a:lnTo>
                    <a:pt x="29" y="14"/>
                  </a:lnTo>
                  <a:lnTo>
                    <a:pt x="29" y="23"/>
                  </a:lnTo>
                  <a:lnTo>
                    <a:pt x="35" y="79"/>
                  </a:lnTo>
                  <a:lnTo>
                    <a:pt x="35" y="79"/>
                  </a:lnTo>
                  <a:lnTo>
                    <a:pt x="77" y="1"/>
                  </a:lnTo>
                  <a:lnTo>
                    <a:pt x="86" y="1"/>
                  </a:lnTo>
                  <a:lnTo>
                    <a:pt x="93" y="79"/>
                  </a:lnTo>
                  <a:lnTo>
                    <a:pt x="94" y="79"/>
                  </a:lnTo>
                  <a:lnTo>
                    <a:pt x="94" y="79"/>
                  </a:lnTo>
                  <a:lnTo>
                    <a:pt x="124" y="21"/>
                  </a:lnTo>
                  <a:lnTo>
                    <a:pt x="124" y="21"/>
                  </a:lnTo>
                  <a:lnTo>
                    <a:pt x="128" y="12"/>
                  </a:lnTo>
                  <a:lnTo>
                    <a:pt x="129" y="6"/>
                  </a:lnTo>
                  <a:lnTo>
                    <a:pt x="129" y="3"/>
                  </a:lnTo>
                  <a:lnTo>
                    <a:pt x="128" y="1"/>
                  </a:lnTo>
                  <a:lnTo>
                    <a:pt x="128" y="0"/>
                  </a:lnTo>
                  <a:lnTo>
                    <a:pt x="150" y="0"/>
                  </a:lnTo>
                  <a:lnTo>
                    <a:pt x="15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hangingPunct="1"/>
              <a:endParaRPr lang="en-GB" sz="1600" dirty="0">
                <a:solidFill>
                  <a:srgbClr val="7A6E67"/>
                </a:solidFill>
              </a:endParaRPr>
            </a:p>
          </p:txBody>
        </p:sp>
      </p:grpSp>
    </p:spTree>
    <p:extLst>
      <p:ext uri="{BB962C8B-B14F-4D97-AF65-F5344CB8AC3E}">
        <p14:creationId xmlns:p14="http://schemas.microsoft.com/office/powerpoint/2010/main" val="235746572"/>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206654" y="208115"/>
            <a:ext cx="10388046"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itle style</a:t>
            </a:r>
          </a:p>
        </p:txBody>
      </p:sp>
    </p:spTree>
    <p:extLst>
      <p:ext uri="{BB962C8B-B14F-4D97-AF65-F5344CB8AC3E}">
        <p14:creationId xmlns:p14="http://schemas.microsoft.com/office/powerpoint/2010/main" val="229473924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15474058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Tree>
    <p:extLst>
      <p:ext uri="{BB962C8B-B14F-4D97-AF65-F5344CB8AC3E}">
        <p14:creationId xmlns:p14="http://schemas.microsoft.com/office/powerpoint/2010/main" val="247705813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786520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insert content zon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smtClean="0"/>
              <a:t>Your title – keep it short, size can vary between 14pt and 24pt</a:t>
            </a:r>
            <a:endParaRPr lang="en-GB" kern="0" dirty="0" smtClean="0"/>
          </a:p>
        </p:txBody>
      </p:sp>
      <p:sp>
        <p:nvSpPr>
          <p:cNvPr id="11" name="Content Placeholder 2"/>
          <p:cNvSpPr>
            <a:spLocks noGrp="1"/>
          </p:cNvSpPr>
          <p:nvPr>
            <p:ph sz="quarter" idx="12" hasCustomPrompt="1"/>
          </p:nvPr>
        </p:nvSpPr>
        <p:spPr>
          <a:xfrm>
            <a:off x="287338" y="1022251"/>
            <a:ext cx="8642350" cy="4175671"/>
          </a:xfrm>
        </p:spPr>
        <p:txBody>
          <a:bodyPr/>
          <a:lstStyle>
            <a:lvl1pPr>
              <a:defRPr b="1"/>
            </a:lvl1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Tree>
    <p:extLst>
      <p:ext uri="{BB962C8B-B14F-4D97-AF65-F5344CB8AC3E}">
        <p14:creationId xmlns:p14="http://schemas.microsoft.com/office/powerpoint/2010/main" val="363532201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smtClean="0"/>
              <a:t>Your title – keep it short, size can vary between 14pt and 24pt</a:t>
            </a:r>
            <a:endParaRPr lang="en-GB" kern="0" dirty="0" smtClean="0"/>
          </a:p>
        </p:txBody>
      </p:sp>
    </p:spTree>
    <p:extLst>
      <p:ext uri="{BB962C8B-B14F-4D97-AF65-F5344CB8AC3E}">
        <p14:creationId xmlns:p14="http://schemas.microsoft.com/office/powerpoint/2010/main" val="363532201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c slide">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Tree>
    <p:extLst>
      <p:ext uri="{BB962C8B-B14F-4D97-AF65-F5344CB8AC3E}">
        <p14:creationId xmlns:p14="http://schemas.microsoft.com/office/powerpoint/2010/main" val="12805862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ig messag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5" y="5592196"/>
            <a:ext cx="5678487" cy="228600"/>
          </a:xfrm>
        </p:spPr>
        <p:txBody>
          <a:bodyPr/>
          <a:lstStyle/>
          <a:p>
            <a:endParaRPr lang="en-GB"/>
          </a:p>
        </p:txBody>
      </p:sp>
      <p:sp>
        <p:nvSpPr>
          <p:cNvPr id="14"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9"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sz="1800"/>
            </a:lvl1pPr>
          </a:lstStyle>
          <a:p>
            <a:r>
              <a:rPr lang="en-US" kern="0" dirty="0" smtClean="0"/>
              <a:t>Your title – keep it short, size can vary between 14pt and 24pt</a:t>
            </a:r>
            <a:endParaRPr lang="en-GB" kern="0" dirty="0" smtClean="0"/>
          </a:p>
        </p:txBody>
      </p:sp>
      <p:sp>
        <p:nvSpPr>
          <p:cNvPr id="12" name="Text Placeholder 2"/>
          <p:cNvSpPr>
            <a:spLocks noGrp="1"/>
          </p:cNvSpPr>
          <p:nvPr>
            <p:ph type="body" sz="quarter" idx="12" hasCustomPrompt="1"/>
          </p:nvPr>
        </p:nvSpPr>
        <p:spPr>
          <a:xfrm>
            <a:off x="287341" y="1022251"/>
            <a:ext cx="8641729" cy="4176464"/>
          </a:xfrm>
        </p:spPr>
        <p:txBody>
          <a:bodyPr/>
          <a:lstStyle>
            <a:lvl1pPr>
              <a:defRPr sz="3200"/>
            </a:lvl1pPr>
          </a:lstStyle>
          <a:p>
            <a:pPr lvl="0"/>
            <a:r>
              <a:rPr lang="en-US"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dirty="0" err="1" smtClean="0"/>
              <a:t>standardised</a:t>
            </a:r>
            <a:r>
              <a:rPr lang="en-US" dirty="0" smtClean="0"/>
              <a:t> financial messages. </a:t>
            </a:r>
          </a:p>
        </p:txBody>
      </p:sp>
    </p:spTree>
    <p:extLst>
      <p:ext uri="{BB962C8B-B14F-4D97-AF65-F5344CB8AC3E}">
        <p14:creationId xmlns:p14="http://schemas.microsoft.com/office/powerpoint/2010/main" val="16877246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3" name="Footer Placeholder 3"/>
          <p:cNvSpPr>
            <a:spLocks noGrp="1"/>
          </p:cNvSpPr>
          <p:nvPr>
            <p:ph type="ftr" sz="quarter" idx="10"/>
          </p:nvPr>
        </p:nvSpPr>
        <p:spPr>
          <a:xfrm>
            <a:off x="658295" y="5592196"/>
            <a:ext cx="5678487" cy="228600"/>
          </a:xfrm>
        </p:spPr>
        <p:txBody>
          <a:bodyPr/>
          <a:lstStyle/>
          <a:p>
            <a:endParaRPr lang="en-GB"/>
          </a:p>
        </p:txBody>
      </p:sp>
      <p:sp>
        <p:nvSpPr>
          <p:cNvPr id="14"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5" name="Text Placeholder 4"/>
          <p:cNvSpPr>
            <a:spLocks noGrp="1"/>
          </p:cNvSpPr>
          <p:nvPr>
            <p:ph type="body" sz="quarter" idx="12" hasCustomPrompt="1"/>
          </p:nvPr>
        </p:nvSpPr>
        <p:spPr>
          <a:xfrm>
            <a:off x="658292" y="517525"/>
            <a:ext cx="8064500" cy="3961110"/>
          </a:xfrm>
        </p:spPr>
        <p:txBody>
          <a:bodyPr/>
          <a:lstStyle>
            <a:lvl1pPr>
              <a:defRPr sz="3600" b="0">
                <a:latin typeface="+mj-lt"/>
              </a:defRPr>
            </a:lvl1pPr>
            <a:lvl2pPr>
              <a:defRPr sz="4000" b="1"/>
            </a:lvl2pPr>
            <a:lvl3pPr>
              <a:defRPr sz="4000" b="1"/>
            </a:lvl3pPr>
            <a:lvl4pPr>
              <a:defRPr sz="4000" b="1"/>
            </a:lvl4pPr>
            <a:lvl5pPr>
              <a:defRPr sz="3600" b="1"/>
            </a:lvl5pPr>
          </a:lstStyle>
          <a:p>
            <a:pPr lvl="0"/>
            <a:r>
              <a:rPr lang="en-US" dirty="0" smtClean="0"/>
              <a:t>It is change, continuing change, inevitable change, that is the dominant factor in society today. No sensible decision can be made any longer without taking into account not only the world as it is, but the world as it will be.</a:t>
            </a:r>
          </a:p>
        </p:txBody>
      </p:sp>
      <p:sp>
        <p:nvSpPr>
          <p:cNvPr id="3" name="Text Placeholder 2"/>
          <p:cNvSpPr>
            <a:spLocks noGrp="1"/>
          </p:cNvSpPr>
          <p:nvPr>
            <p:ph type="body" sz="quarter" idx="13" hasCustomPrompt="1"/>
          </p:nvPr>
        </p:nvSpPr>
        <p:spPr>
          <a:xfrm>
            <a:off x="658292" y="4622800"/>
            <a:ext cx="8066088" cy="503238"/>
          </a:xfrm>
        </p:spPr>
        <p:txBody>
          <a:bodyPr/>
          <a:lstStyle>
            <a:lvl1pPr marL="285750" indent="-285750">
              <a:buFont typeface="Arial" panose="020B0604020202020204" pitchFamily="34" charset="0"/>
              <a:buChar char="̶"/>
              <a:defRPr b="0"/>
            </a:lvl1pPr>
          </a:lstStyle>
          <a:p>
            <a:pPr lvl="0"/>
            <a:r>
              <a:rPr lang="en-US" dirty="0" smtClean="0"/>
              <a:t>Isaac Asimov</a:t>
            </a:r>
            <a:endParaRPr lang="en-GB" dirty="0"/>
          </a:p>
        </p:txBody>
      </p:sp>
    </p:spTree>
    <p:extLst>
      <p:ext uri="{BB962C8B-B14F-4D97-AF65-F5344CB8AC3E}">
        <p14:creationId xmlns:p14="http://schemas.microsoft.com/office/powerpoint/2010/main" val="155517720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2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10" name="Text Placeholder 2"/>
          <p:cNvSpPr>
            <a:spLocks noGrp="1"/>
          </p:cNvSpPr>
          <p:nvPr>
            <p:ph type="body" idx="12" hasCustomPrompt="1"/>
          </p:nvPr>
        </p:nvSpPr>
        <p:spPr>
          <a:xfrm>
            <a:off x="287338" y="1022253"/>
            <a:ext cx="4101794"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
        <p:nvSpPr>
          <p:cNvPr id="11" name="Text Placeholder 2"/>
          <p:cNvSpPr>
            <a:spLocks noGrp="1"/>
          </p:cNvSpPr>
          <p:nvPr>
            <p:ph type="body" idx="13" hasCustomPrompt="1"/>
          </p:nvPr>
        </p:nvSpPr>
        <p:spPr>
          <a:xfrm>
            <a:off x="4787257" y="1022253"/>
            <a:ext cx="4105225"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
        <p:nvSpPr>
          <p:cNvPr id="12" name="Rectangle 34"/>
          <p:cNvSpPr>
            <a:spLocks noGrp="1" noChangeArrowheads="1"/>
          </p:cNvSpPr>
          <p:nvPr>
            <p:ph type="title" hasCustomPrompt="1"/>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smtClean="0"/>
              <a:t>Your title – keep it short, size can vary between 14pt and 24pt</a:t>
            </a:r>
            <a:endParaRPr lang="en-GB" kern="0" dirty="0" smtClean="0"/>
          </a:p>
        </p:txBody>
      </p:sp>
    </p:spTree>
    <p:extLst>
      <p:ext uri="{BB962C8B-B14F-4D97-AF65-F5344CB8AC3E}">
        <p14:creationId xmlns:p14="http://schemas.microsoft.com/office/powerpoint/2010/main" val="363532201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3 columns">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a:p>
        </p:txBody>
      </p:sp>
      <p:sp>
        <p:nvSpPr>
          <p:cNvPr id="5" name="Slide Number Placeholder 4"/>
          <p:cNvSpPr>
            <a:spLocks noGrp="1"/>
          </p:cNvSpPr>
          <p:nvPr>
            <p:ph type="sldNum" sz="quarter" idx="11"/>
          </p:nvPr>
        </p:nvSpPr>
        <p:spPr>
          <a:xfrm>
            <a:off x="9823253" y="5592196"/>
            <a:ext cx="762000" cy="228600"/>
          </a:xfrm>
        </p:spPr>
        <p:txBody>
          <a:bodyPr/>
          <a:lstStyle>
            <a:lvl1pPr algn="r">
              <a:defRPr/>
            </a:lvl1pPr>
          </a:lstStyle>
          <a:p>
            <a:fld id="{F17889F7-7963-4A16-ADF8-FEE4D97DC541}" type="slidenum">
              <a:rPr lang="en-GB" smtClean="0"/>
              <a:pPr/>
              <a:t>‹#›</a:t>
            </a:fld>
            <a:endParaRPr lang="en-GB"/>
          </a:p>
        </p:txBody>
      </p:sp>
      <p:sp>
        <p:nvSpPr>
          <p:cNvPr id="7" name="Text Placeholder 2"/>
          <p:cNvSpPr>
            <a:spLocks noGrp="1"/>
          </p:cNvSpPr>
          <p:nvPr>
            <p:ph type="body" idx="12" hasCustomPrompt="1"/>
          </p:nvPr>
        </p:nvSpPr>
        <p:spPr>
          <a:xfrm>
            <a:off x="284171" y="1022253"/>
            <a:ext cx="3097113"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
        <p:nvSpPr>
          <p:cNvPr id="8" name="Text Placeholder 2"/>
          <p:cNvSpPr>
            <a:spLocks noGrp="1"/>
          </p:cNvSpPr>
          <p:nvPr>
            <p:ph type="body" idx="13" hasCustomPrompt="1"/>
          </p:nvPr>
        </p:nvSpPr>
        <p:spPr>
          <a:xfrm>
            <a:off x="3816501" y="1022253"/>
            <a:ext cx="3097113"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
        <p:nvSpPr>
          <p:cNvPr id="9" name="Text Placeholder 2"/>
          <p:cNvSpPr>
            <a:spLocks noGrp="1"/>
          </p:cNvSpPr>
          <p:nvPr>
            <p:ph type="body" idx="14" hasCustomPrompt="1"/>
          </p:nvPr>
        </p:nvSpPr>
        <p:spPr>
          <a:xfrm>
            <a:off x="7399788" y="1022253"/>
            <a:ext cx="3096344" cy="4032448"/>
          </a:xfrm>
          <a:prstGeom prst="rect">
            <a:avLst/>
          </a:prstGeom>
        </p:spPr>
        <p:txBody>
          <a:bodyPr anchor="t" anchorCtr="0"/>
          <a:lstStyle>
            <a:lvl1pPr marL="0" indent="0">
              <a:buFont typeface="Arial" panose="020B0604020202020204" pitchFamily="34" charset="0"/>
              <a:buNone/>
              <a:defRPr sz="1400" b="0" baseline="0"/>
            </a:lvl1pPr>
            <a:lvl2pPr marL="742950" indent="-285750">
              <a:buFont typeface="Arial" panose="020B0604020202020204" pitchFamily="34" charset="0"/>
              <a:buChar char="•"/>
              <a:defRPr sz="1400"/>
            </a:lvl2pPr>
            <a:lvl3pPr marL="1200150" indent="-285750">
              <a:buFont typeface="Courier New" panose="02070309020205020404" pitchFamily="49" charset="0"/>
              <a:buChar char="o"/>
              <a:defRPr sz="1400" baseline="0"/>
            </a:lvl3pPr>
            <a:lvl4pPr marL="1371600" indent="0">
              <a:buFont typeface="+mj-lt"/>
              <a:buNone/>
              <a:defRPr sz="1400"/>
            </a:lvl4pPr>
            <a:lvl5pPr marL="1828800" indent="0">
              <a:buFont typeface="Wingdings" panose="05000000000000000000" pitchFamily="2" charset="2"/>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r>
              <a:rPr lang="en-US" b="0" dirty="0" smtClean="0"/>
              <a:t>SWIFT is a member-owned cooperative through which the financial world conducts its business operations with speed, certainty and confidence. More than 10,800 financial institutions and corporations in over 200 countries trust us every day to exchange millions of </a:t>
            </a:r>
            <a:r>
              <a:rPr lang="en-US" b="0" dirty="0" err="1" smtClean="0"/>
              <a:t>standardised</a:t>
            </a:r>
            <a:r>
              <a:rPr lang="en-US" b="0" dirty="0" smtClean="0"/>
              <a:t> financial messages.</a:t>
            </a:r>
          </a:p>
        </p:txBody>
      </p:sp>
      <p:sp>
        <p:nvSpPr>
          <p:cNvPr id="12" name="Rectangle 34"/>
          <p:cNvSpPr>
            <a:spLocks noGrp="1" noChangeArrowheads="1"/>
          </p:cNvSpPr>
          <p:nvPr>
            <p:ph type="title" hasCustomPrompt="1"/>
          </p:nvPr>
        </p:nvSpPr>
        <p:spPr bwMode="auto">
          <a:xfrm>
            <a:off x="287338" y="302171"/>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lvl1pPr>
              <a:defRPr/>
            </a:lvl1pPr>
          </a:lstStyle>
          <a:p>
            <a:r>
              <a:rPr lang="en-US" kern="0" dirty="0" smtClean="0"/>
              <a:t>Your title – keep it short, size can vary between 14pt and 24pt</a:t>
            </a:r>
            <a:endParaRPr lang="en-GB" kern="0" dirty="0" smtClean="0"/>
          </a:p>
        </p:txBody>
      </p:sp>
    </p:spTree>
    <p:extLst>
      <p:ext uri="{BB962C8B-B14F-4D97-AF65-F5344CB8AC3E}">
        <p14:creationId xmlns:p14="http://schemas.microsoft.com/office/powerpoint/2010/main" val="36353220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18.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17.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theme" Target="../theme/theme2.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20.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2.em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19.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 Type="http://schemas.openxmlformats.org/officeDocument/2006/relationships/slideLayout" Target="../slideLayouts/slideLayout23.xml"/><Relationship Id="rId21" Type="http://schemas.openxmlformats.org/officeDocument/2006/relationships/tags" Target="../tags/tag34.xml"/><Relationship Id="rId7" Type="http://schemas.openxmlformats.org/officeDocument/2006/relationships/vmlDrawing" Target="../drawings/vmlDrawing3.v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2" Type="http://schemas.openxmlformats.org/officeDocument/2006/relationships/slideLayout" Target="../slideLayouts/slideLayout22.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image" Target="../media/image1.emf"/><Relationship Id="rId1" Type="http://schemas.openxmlformats.org/officeDocument/2006/relationships/slideLayout" Target="../slideLayouts/slideLayout21.xml"/><Relationship Id="rId6" Type="http://schemas.openxmlformats.org/officeDocument/2006/relationships/theme" Target="../theme/theme3.xml"/><Relationship Id="rId11" Type="http://schemas.openxmlformats.org/officeDocument/2006/relationships/tags" Target="../tags/tag24.xml"/><Relationship Id="rId24" Type="http://schemas.openxmlformats.org/officeDocument/2006/relationships/tags" Target="../tags/tag37.xml"/><Relationship Id="rId5" Type="http://schemas.openxmlformats.org/officeDocument/2006/relationships/slideLayout" Target="../slideLayouts/slideLayout25.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2.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slideLayout" Target="../slideLayouts/slideLayout24.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57" name="Rectangle 33"/>
          <p:cNvSpPr>
            <a:spLocks noGrp="1" noChangeArrowheads="1"/>
          </p:cNvSpPr>
          <p:nvPr>
            <p:ph type="body" idx="1"/>
          </p:nvPr>
        </p:nvSpPr>
        <p:spPr bwMode="auto">
          <a:xfrm>
            <a:off x="287338" y="1022252"/>
            <a:ext cx="8605142" cy="4145979"/>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pPr lvl="0"/>
            <a:r>
              <a:rPr lang="en-US" dirty="0" smtClean="0"/>
              <a:t>This could be your content highlight</a:t>
            </a:r>
          </a:p>
          <a:p>
            <a:pPr lvl="1"/>
            <a:r>
              <a:rPr lang="en-US" dirty="0" smtClean="0"/>
              <a:t>First point</a:t>
            </a:r>
          </a:p>
          <a:p>
            <a:pPr lvl="1"/>
            <a:r>
              <a:rPr lang="en-US" dirty="0" smtClean="0"/>
              <a:t>Second point</a:t>
            </a:r>
          </a:p>
          <a:p>
            <a:pPr lvl="1"/>
            <a:r>
              <a:rPr lang="en-US" dirty="0" smtClean="0"/>
              <a:t>Third point</a:t>
            </a:r>
          </a:p>
        </p:txBody>
      </p:sp>
      <p:sp>
        <p:nvSpPr>
          <p:cNvPr id="1058" name="Rectangle 34"/>
          <p:cNvSpPr>
            <a:spLocks noGrp="1" noChangeArrowheads="1"/>
          </p:cNvSpPr>
          <p:nvPr>
            <p:ph type="title"/>
          </p:nvPr>
        </p:nvSpPr>
        <p:spPr bwMode="auto">
          <a:xfrm>
            <a:off x="287338" y="301625"/>
            <a:ext cx="8605142" cy="463798"/>
          </a:xfrm>
          <a:prstGeom prst="rect">
            <a:avLst/>
          </a:prstGeom>
          <a:noFill/>
          <a:ln w="9525">
            <a:noFill/>
            <a:miter lim="800000"/>
            <a:headEnd/>
            <a:tailEnd/>
          </a:ln>
          <a:effectLst/>
        </p:spPr>
        <p:txBody>
          <a:bodyPr vert="horz" wrap="square" lIns="107970" tIns="53985" rIns="107970" bIns="53985" numCol="1" anchor="t" anchorCtr="0" compatLnSpc="1">
            <a:prstTxWarp prst="textNoShape">
              <a:avLst/>
            </a:prstTxWarp>
          </a:bodyPr>
          <a:lstStyle/>
          <a:p>
            <a:r>
              <a:rPr lang="en-US" kern="0" dirty="0" smtClean="0"/>
              <a:t>Your title – keep it short, size can vary between 14pt and 24pt</a:t>
            </a:r>
            <a:endParaRPr lang="en-GB" kern="0" dirty="0" smtClean="0"/>
          </a:p>
        </p:txBody>
      </p:sp>
      <p:sp>
        <p:nvSpPr>
          <p:cNvPr id="5" name="Footer Placeholder 3"/>
          <p:cNvSpPr>
            <a:spLocks noGrp="1"/>
          </p:cNvSpPr>
          <p:nvPr>
            <p:ph type="ftr" sz="quarter" idx="3"/>
          </p:nvPr>
        </p:nvSpPr>
        <p:spPr>
          <a:xfrm>
            <a:off x="658295" y="5592196"/>
            <a:ext cx="5678487" cy="228600"/>
          </a:xfrm>
          <a:prstGeom prst="rect">
            <a:avLst/>
          </a:prstGeom>
        </p:spPr>
        <p:txBody>
          <a:bodyPr/>
          <a:lstStyle>
            <a:lvl1pPr>
              <a:defRPr sz="800">
                <a:solidFill>
                  <a:schemeClr val="tx2"/>
                </a:solidFill>
              </a:defRPr>
            </a:lvl1pPr>
          </a:lstStyle>
          <a:p>
            <a:endParaRPr lang="en-GB" dirty="0"/>
          </a:p>
        </p:txBody>
      </p:sp>
      <p:sp>
        <p:nvSpPr>
          <p:cNvPr id="6" name="Slide Number Placeholder 4"/>
          <p:cNvSpPr>
            <a:spLocks noGrp="1"/>
          </p:cNvSpPr>
          <p:nvPr>
            <p:ph type="sldNum" sz="quarter" idx="4"/>
          </p:nvPr>
        </p:nvSpPr>
        <p:spPr>
          <a:xfrm>
            <a:off x="9823253" y="5592196"/>
            <a:ext cx="762000" cy="228600"/>
          </a:xfrm>
          <a:prstGeom prst="rect">
            <a:avLst/>
          </a:prstGeom>
        </p:spPr>
        <p:txBody>
          <a:bodyPr/>
          <a:lstStyle>
            <a:lvl1pPr algn="r">
              <a:defRPr sz="800">
                <a:solidFill>
                  <a:schemeClr val="tx2"/>
                </a:solidFill>
              </a:defRPr>
            </a:lvl1pPr>
          </a:lstStyle>
          <a:p>
            <a:fld id="{F17889F7-7963-4A16-ADF8-FEE4D97DC541}" type="slidenum">
              <a:rPr lang="en-GB" smtClean="0"/>
              <a:pPr/>
              <a:t>‹#›</a:t>
            </a:fld>
            <a:endParaRPr lang="en-GB"/>
          </a:p>
        </p:txBody>
      </p:sp>
      <p:pic>
        <p:nvPicPr>
          <p:cNvPr id="8" name="Picture 2" descr="C:\Users\ndenic\Documents\Design Projects\Logos\SWIFT_Logo Warm Grey.emf"/>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7340" y="5558755"/>
            <a:ext cx="288032" cy="288032"/>
          </a:xfrm>
          <a:prstGeom prst="rect">
            <a:avLst/>
          </a:prstGeom>
          <a:solidFill>
            <a:schemeClr val="bg1"/>
          </a:solidFill>
          <a:extLst/>
        </p:spPr>
      </p:pic>
    </p:spTree>
  </p:cSld>
  <p:clrMap bg1="lt1" tx1="dk1" bg2="lt2" tx2="dk2" accent1="accent1" accent2="accent2" accent3="accent3" accent4="accent4" accent5="accent5" accent6="accent6" hlink="hlink" folHlink="folHlink"/>
  <p:sldLayoutIdLst>
    <p:sldLayoutId id="2147483649" r:id="rId1"/>
    <p:sldLayoutId id="2147483684" r:id="rId2"/>
    <p:sldLayoutId id="2147483680" r:id="rId3"/>
    <p:sldLayoutId id="2147483679" r:id="rId4"/>
    <p:sldLayoutId id="2147483689" r:id="rId5"/>
    <p:sldLayoutId id="2147483687" r:id="rId6"/>
    <p:sldLayoutId id="2147483686" r:id="rId7"/>
    <p:sldLayoutId id="2147483682" r:id="rId8"/>
    <p:sldLayoutId id="2147483681" r:id="rId9"/>
    <p:sldLayoutId id="2147483688" r:id="rId10"/>
    <p:sldLayoutId id="2147483652" r:id="rId11"/>
    <p:sldLayoutId id="2147483690" r:id="rId12"/>
    <p:sldLayoutId id="2147483691" r:id="rId13"/>
    <p:sldLayoutId id="2147483672" r:id="rId14"/>
    <p:sldLayoutId id="2147483693" r:id="rId15"/>
  </p:sldLayoutIdLst>
  <p:timing>
    <p:tnLst>
      <p:par>
        <p:cTn id="1" dur="indefinite" restart="never" nodeType="tmRoot"/>
      </p:par>
    </p:tnLst>
  </p:timing>
  <p:hf sldNum="0" hdr="0" dt="0"/>
  <p:txStyles>
    <p:titleStyle>
      <a:lvl1pPr marL="0" marR="0" indent="0" algn="l" defTabSz="914400" rtl="0" eaLnBrk="1" fontAlgn="base" latinLnBrk="0" hangingPunct="1">
        <a:lnSpc>
          <a:spcPct val="100000"/>
        </a:lnSpc>
        <a:spcBef>
          <a:spcPct val="0"/>
        </a:spcBef>
        <a:spcAft>
          <a:spcPct val="0"/>
        </a:spcAft>
        <a:buClrTx/>
        <a:buSzTx/>
        <a:buFontTx/>
        <a:buNone/>
        <a:tabLst/>
        <a:defRPr sz="1800" b="1">
          <a:solidFill>
            <a:schemeClr val="tx2"/>
          </a:solidFill>
          <a:latin typeface="+mn-lt"/>
          <a:ea typeface="+mj-ea"/>
          <a:cs typeface="+mj-cs"/>
        </a:defRPr>
      </a:lvl1pPr>
      <a:lvl2pPr algn="l" rtl="0" eaLnBrk="1" fontAlgn="base" hangingPunct="1">
        <a:spcBef>
          <a:spcPct val="0"/>
        </a:spcBef>
        <a:spcAft>
          <a:spcPct val="0"/>
        </a:spcAft>
        <a:defRPr sz="3800">
          <a:solidFill>
            <a:schemeClr val="tx2"/>
          </a:solidFill>
          <a:latin typeface="Times New Roman" pitchFamily="18" charset="0"/>
        </a:defRPr>
      </a:lvl2pPr>
      <a:lvl3pPr algn="l" rtl="0" eaLnBrk="1" fontAlgn="base" hangingPunct="1">
        <a:spcBef>
          <a:spcPct val="0"/>
        </a:spcBef>
        <a:spcAft>
          <a:spcPct val="0"/>
        </a:spcAft>
        <a:defRPr sz="3800">
          <a:solidFill>
            <a:schemeClr val="tx2"/>
          </a:solidFill>
          <a:latin typeface="Times New Roman" pitchFamily="18" charset="0"/>
        </a:defRPr>
      </a:lvl3pPr>
      <a:lvl4pPr algn="l" rtl="0" eaLnBrk="1" fontAlgn="base" hangingPunct="1">
        <a:spcBef>
          <a:spcPct val="0"/>
        </a:spcBef>
        <a:spcAft>
          <a:spcPct val="0"/>
        </a:spcAft>
        <a:defRPr sz="3800">
          <a:solidFill>
            <a:schemeClr val="tx2"/>
          </a:solidFill>
          <a:latin typeface="Times New Roman" pitchFamily="18" charset="0"/>
        </a:defRPr>
      </a:lvl4pPr>
      <a:lvl5pPr algn="l" rtl="0" eaLnBrk="1" fontAlgn="base" hangingPunct="1">
        <a:spcBef>
          <a:spcPct val="0"/>
        </a:spcBef>
        <a:spcAft>
          <a:spcPct val="0"/>
        </a:spcAft>
        <a:defRPr sz="3800">
          <a:solidFill>
            <a:schemeClr val="tx2"/>
          </a:solidFill>
          <a:latin typeface="Times New Roman" pitchFamily="18" charset="0"/>
        </a:defRPr>
      </a:lvl5pPr>
      <a:lvl6pPr marL="539856" algn="l" rtl="0" eaLnBrk="1" fontAlgn="base" hangingPunct="1">
        <a:spcBef>
          <a:spcPct val="0"/>
        </a:spcBef>
        <a:spcAft>
          <a:spcPct val="0"/>
        </a:spcAft>
        <a:defRPr sz="3800">
          <a:solidFill>
            <a:schemeClr val="tx2"/>
          </a:solidFill>
          <a:latin typeface="Times New Roman" pitchFamily="18" charset="0"/>
        </a:defRPr>
      </a:lvl6pPr>
      <a:lvl7pPr marL="1079708" algn="l" rtl="0" eaLnBrk="1" fontAlgn="base" hangingPunct="1">
        <a:spcBef>
          <a:spcPct val="0"/>
        </a:spcBef>
        <a:spcAft>
          <a:spcPct val="0"/>
        </a:spcAft>
        <a:defRPr sz="3800">
          <a:solidFill>
            <a:schemeClr val="tx2"/>
          </a:solidFill>
          <a:latin typeface="Times New Roman" pitchFamily="18" charset="0"/>
        </a:defRPr>
      </a:lvl7pPr>
      <a:lvl8pPr marL="1619564" algn="l" rtl="0" eaLnBrk="1" fontAlgn="base" hangingPunct="1">
        <a:spcBef>
          <a:spcPct val="0"/>
        </a:spcBef>
        <a:spcAft>
          <a:spcPct val="0"/>
        </a:spcAft>
        <a:defRPr sz="3800">
          <a:solidFill>
            <a:schemeClr val="tx2"/>
          </a:solidFill>
          <a:latin typeface="Times New Roman" pitchFamily="18" charset="0"/>
        </a:defRPr>
      </a:lvl8pPr>
      <a:lvl9pPr marL="2159418" algn="l" rtl="0" eaLnBrk="1" fontAlgn="base" hangingPunct="1">
        <a:spcBef>
          <a:spcPct val="0"/>
        </a:spcBef>
        <a:spcAft>
          <a:spcPct val="0"/>
        </a:spcAft>
        <a:defRPr sz="3800">
          <a:solidFill>
            <a:schemeClr val="tx2"/>
          </a:solidFill>
          <a:latin typeface="Times New Roman" pitchFamily="18" charset="0"/>
        </a:defRPr>
      </a:lvl9pPr>
    </p:titleStyle>
    <p:bodyStyle>
      <a:lvl1pPr marL="0" indent="0" algn="l" rtl="0" eaLnBrk="1" fontAlgn="base" hangingPunct="1">
        <a:spcBef>
          <a:spcPct val="20000"/>
        </a:spcBef>
        <a:spcAft>
          <a:spcPct val="0"/>
        </a:spcAft>
        <a:buNone/>
        <a:defRPr sz="1800" b="1">
          <a:solidFill>
            <a:schemeClr val="tx2"/>
          </a:solidFill>
          <a:latin typeface="+mn-lt"/>
          <a:ea typeface="+mn-ea"/>
          <a:cs typeface="+mn-cs"/>
        </a:defRPr>
      </a:lvl1pPr>
      <a:lvl2pPr marL="526735" indent="-251183" algn="l" rtl="0" eaLnBrk="1" fontAlgn="base" hangingPunct="1">
        <a:spcBef>
          <a:spcPct val="20000"/>
        </a:spcBef>
        <a:spcAft>
          <a:spcPct val="0"/>
        </a:spcAft>
        <a:buFont typeface="Arial" panose="020B0604020202020204" pitchFamily="34" charset="0"/>
        <a:buChar char="̶"/>
        <a:defRPr sz="1400" baseline="0">
          <a:solidFill>
            <a:schemeClr val="tx2"/>
          </a:solidFill>
          <a:latin typeface="+mn-lt"/>
        </a:defRPr>
      </a:lvl2pPr>
      <a:lvl3pPr marL="744174" indent="-215567" algn="l" rtl="0" eaLnBrk="1" fontAlgn="base" hangingPunct="1">
        <a:spcBef>
          <a:spcPct val="20000"/>
        </a:spcBef>
        <a:spcAft>
          <a:spcPct val="0"/>
        </a:spcAft>
        <a:buFont typeface="Courier New" panose="02070309020205020404" pitchFamily="49" charset="0"/>
        <a:buChar char="o"/>
        <a:defRPr sz="1400">
          <a:solidFill>
            <a:schemeClr val="tx2"/>
          </a:solidFill>
          <a:latin typeface="+mn-lt"/>
        </a:defRPr>
      </a:lvl3pPr>
      <a:lvl4pPr marL="1212799" indent="-269926" algn="l" rtl="0" eaLnBrk="1" fontAlgn="base" hangingPunct="1">
        <a:spcBef>
          <a:spcPct val="20000"/>
        </a:spcBef>
        <a:spcAft>
          <a:spcPct val="0"/>
        </a:spcAft>
        <a:buChar char="–"/>
        <a:defRPr sz="1400">
          <a:solidFill>
            <a:schemeClr val="tx2"/>
          </a:solidFill>
          <a:latin typeface="+mn-lt"/>
        </a:defRPr>
      </a:lvl4pPr>
      <a:lvl5pPr marL="1484599" indent="-269926" algn="l" rtl="0" eaLnBrk="1" fontAlgn="base" hangingPunct="1">
        <a:spcBef>
          <a:spcPct val="20000"/>
        </a:spcBef>
        <a:spcAft>
          <a:spcPct val="0"/>
        </a:spcAft>
        <a:buChar char="–"/>
        <a:defRPr sz="1200">
          <a:solidFill>
            <a:schemeClr val="tx2"/>
          </a:solidFill>
          <a:latin typeface="+mn-lt"/>
        </a:defRPr>
      </a:lvl5pPr>
      <a:lvl6pPr marL="2024454" indent="-269926" algn="l" rtl="0" eaLnBrk="1" fontAlgn="base" hangingPunct="1">
        <a:spcBef>
          <a:spcPct val="20000"/>
        </a:spcBef>
        <a:spcAft>
          <a:spcPct val="0"/>
        </a:spcAft>
        <a:buChar char="–"/>
        <a:defRPr sz="1900">
          <a:solidFill>
            <a:srgbClr val="000000"/>
          </a:solidFill>
          <a:latin typeface="+mn-lt"/>
        </a:defRPr>
      </a:lvl6pPr>
      <a:lvl7pPr marL="2564309" indent="-269926" algn="l" rtl="0" eaLnBrk="1" fontAlgn="base" hangingPunct="1">
        <a:spcBef>
          <a:spcPct val="20000"/>
        </a:spcBef>
        <a:spcAft>
          <a:spcPct val="0"/>
        </a:spcAft>
        <a:buChar char="–"/>
        <a:defRPr sz="1900">
          <a:solidFill>
            <a:srgbClr val="000000"/>
          </a:solidFill>
          <a:latin typeface="+mn-lt"/>
        </a:defRPr>
      </a:lvl7pPr>
      <a:lvl8pPr marL="3104164" indent="-269926" algn="l" rtl="0" eaLnBrk="1" fontAlgn="base" hangingPunct="1">
        <a:spcBef>
          <a:spcPct val="20000"/>
        </a:spcBef>
        <a:spcAft>
          <a:spcPct val="0"/>
        </a:spcAft>
        <a:buChar char="–"/>
        <a:defRPr sz="1900">
          <a:solidFill>
            <a:srgbClr val="000000"/>
          </a:solidFill>
          <a:latin typeface="+mn-lt"/>
        </a:defRPr>
      </a:lvl8pPr>
      <a:lvl9pPr marL="3644017" indent="-269926" algn="l" rtl="0" eaLnBrk="1" fontAlgn="base" hangingPunct="1">
        <a:spcBef>
          <a:spcPct val="20000"/>
        </a:spcBef>
        <a:spcAft>
          <a:spcPct val="0"/>
        </a:spcAft>
        <a:buChar char="–"/>
        <a:defRPr sz="1900">
          <a:solidFill>
            <a:srgbClr val="000000"/>
          </a:solidFill>
          <a:latin typeface="+mn-lt"/>
        </a:defRPr>
      </a:lvl9pPr>
    </p:bodyStyle>
    <p:otherStyle>
      <a:defPPr>
        <a:defRPr lang="en-US"/>
      </a:defPPr>
      <a:lvl1pPr marL="0" algn="l" defTabSz="1079708" rtl="0" eaLnBrk="1" latinLnBrk="0" hangingPunct="1">
        <a:defRPr sz="2100" kern="1200">
          <a:solidFill>
            <a:schemeClr val="tx1"/>
          </a:solidFill>
          <a:latin typeface="+mn-lt"/>
          <a:ea typeface="+mn-ea"/>
          <a:cs typeface="+mn-cs"/>
        </a:defRPr>
      </a:lvl1pPr>
      <a:lvl2pPr marL="539856" algn="l" defTabSz="1079708" rtl="0" eaLnBrk="1" latinLnBrk="0" hangingPunct="1">
        <a:defRPr sz="2100" kern="1200">
          <a:solidFill>
            <a:schemeClr val="tx1"/>
          </a:solidFill>
          <a:latin typeface="+mn-lt"/>
          <a:ea typeface="+mn-ea"/>
          <a:cs typeface="+mn-cs"/>
        </a:defRPr>
      </a:lvl2pPr>
      <a:lvl3pPr marL="1079708" algn="l" defTabSz="1079708" rtl="0" eaLnBrk="1" latinLnBrk="0" hangingPunct="1">
        <a:defRPr sz="2100" kern="1200">
          <a:solidFill>
            <a:schemeClr val="tx1"/>
          </a:solidFill>
          <a:latin typeface="+mn-lt"/>
          <a:ea typeface="+mn-ea"/>
          <a:cs typeface="+mn-cs"/>
        </a:defRPr>
      </a:lvl3pPr>
      <a:lvl4pPr marL="1619564" algn="l" defTabSz="1079708" rtl="0" eaLnBrk="1" latinLnBrk="0" hangingPunct="1">
        <a:defRPr sz="2100" kern="1200">
          <a:solidFill>
            <a:schemeClr val="tx1"/>
          </a:solidFill>
          <a:latin typeface="+mn-lt"/>
          <a:ea typeface="+mn-ea"/>
          <a:cs typeface="+mn-cs"/>
        </a:defRPr>
      </a:lvl4pPr>
      <a:lvl5pPr marL="2159418" algn="l" defTabSz="1079708" rtl="0" eaLnBrk="1" latinLnBrk="0" hangingPunct="1">
        <a:defRPr sz="2100" kern="1200">
          <a:solidFill>
            <a:schemeClr val="tx1"/>
          </a:solidFill>
          <a:latin typeface="+mn-lt"/>
          <a:ea typeface="+mn-ea"/>
          <a:cs typeface="+mn-cs"/>
        </a:defRPr>
      </a:lvl5pPr>
      <a:lvl6pPr marL="2699273" algn="l" defTabSz="1079708" rtl="0" eaLnBrk="1" latinLnBrk="0" hangingPunct="1">
        <a:defRPr sz="2100" kern="1200">
          <a:solidFill>
            <a:schemeClr val="tx1"/>
          </a:solidFill>
          <a:latin typeface="+mn-lt"/>
          <a:ea typeface="+mn-ea"/>
          <a:cs typeface="+mn-cs"/>
        </a:defRPr>
      </a:lvl6pPr>
      <a:lvl7pPr marL="3239127" algn="l" defTabSz="1079708" rtl="0" eaLnBrk="1" latinLnBrk="0" hangingPunct="1">
        <a:defRPr sz="2100" kern="1200">
          <a:solidFill>
            <a:schemeClr val="tx1"/>
          </a:solidFill>
          <a:latin typeface="+mn-lt"/>
          <a:ea typeface="+mn-ea"/>
          <a:cs typeface="+mn-cs"/>
        </a:defRPr>
      </a:lvl7pPr>
      <a:lvl8pPr marL="3778982" algn="l" defTabSz="1079708" rtl="0" eaLnBrk="1" latinLnBrk="0" hangingPunct="1">
        <a:defRPr sz="2100" kern="1200">
          <a:solidFill>
            <a:schemeClr val="tx1"/>
          </a:solidFill>
          <a:latin typeface="+mn-lt"/>
          <a:ea typeface="+mn-ea"/>
          <a:cs typeface="+mn-cs"/>
        </a:defRPr>
      </a:lvl8pPr>
      <a:lvl9pPr marL="4318837" algn="l" defTabSz="1079708"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2048802536"/>
              </p:ext>
            </p:extLst>
          </p:nvPr>
        </p:nvGraphicFramePr>
        <p:xfrm>
          <a:off x="0" y="2"/>
          <a:ext cx="191344" cy="143527"/>
        </p:xfrm>
        <a:graphic>
          <a:graphicData uri="http://schemas.openxmlformats.org/presentationml/2006/ole">
            <mc:AlternateContent xmlns:mc="http://schemas.openxmlformats.org/markup-compatibility/2006">
              <mc:Choice xmlns:v="urn:schemas-microsoft-com:vml" Requires="v">
                <p:oleObj spid="_x0000_s2076"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2"/>
                        <a:ext cx="191344" cy="143527"/>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9719292" y="1750083"/>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7A6E67"/>
                </a:solidFill>
                <a:latin typeface="Arial"/>
              </a:rPr>
              <a:t>Last Modified 16.12.2015 17:55 W. Europe Standard Time</a:t>
            </a:r>
            <a:endParaRPr lang="en-GB" dirty="0" smtClean="0">
              <a:solidFill>
                <a:srgbClr val="7A6E67"/>
              </a:solidFill>
              <a:latin typeface="Arial"/>
            </a:endParaRPr>
          </a:p>
        </p:txBody>
      </p:sp>
      <p:sp>
        <p:nvSpPr>
          <p:cNvPr id="1035" name="Printed" hidden="1"/>
          <p:cNvSpPr txBox="1">
            <a:spLocks noChangeArrowheads="1"/>
          </p:cNvSpPr>
          <p:nvPr/>
        </p:nvSpPr>
        <p:spPr bwMode="auto">
          <a:xfrm rot="5400000">
            <a:off x="9826694" y="3715460"/>
            <a:ext cx="178093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7A6E67"/>
                </a:solidFill>
                <a:latin typeface="Arial"/>
              </a:rPr>
              <a:t>Printed 16.12.2015 17:54 W. Europe Standard Time</a:t>
            </a:r>
            <a:endParaRPr lang="en-GB" dirty="0" smtClean="0">
              <a:solidFill>
                <a:srgbClr val="7A6E67"/>
              </a:solidFill>
              <a:latin typeface="Arial"/>
            </a:endParaRPr>
          </a:p>
        </p:txBody>
      </p:sp>
      <p:sp>
        <p:nvSpPr>
          <p:cNvPr id="1036" name="Rectangle 286"/>
          <p:cNvSpPr>
            <a:spLocks noGrp="1" noChangeArrowheads="1"/>
          </p:cNvSpPr>
          <p:nvPr>
            <p:ph type="body" idx="1"/>
          </p:nvPr>
        </p:nvSpPr>
        <p:spPr bwMode="auto">
          <a:xfrm>
            <a:off x="2767786" y="2278065"/>
            <a:ext cx="5185413"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itle Placeholder 2"/>
          <p:cNvSpPr>
            <a:spLocks noGrp="1" noChangeArrowheads="1"/>
          </p:cNvSpPr>
          <p:nvPr>
            <p:ph type="title"/>
          </p:nvPr>
        </p:nvSpPr>
        <p:spPr bwMode="auto">
          <a:xfrm>
            <a:off x="206654" y="208115"/>
            <a:ext cx="10388046"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itle style</a:t>
            </a:r>
          </a:p>
        </p:txBody>
      </p:sp>
      <p:sp>
        <p:nvSpPr>
          <p:cNvPr id="10" name="McK 1. On-page tracker" hidden="1"/>
          <p:cNvSpPr>
            <a:spLocks noChangeArrowheads="1"/>
          </p:cNvSpPr>
          <p:nvPr/>
        </p:nvSpPr>
        <p:spPr bwMode="auto">
          <a:xfrm>
            <a:off x="206653" y="157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GB" sz="1400" dirty="0" smtClean="0">
                <a:solidFill>
                  <a:srgbClr val="808080"/>
                </a:solidFill>
                <a:latin typeface="Arial"/>
              </a:rPr>
              <a:t>TRACKER</a:t>
            </a:r>
            <a:endParaRPr lang="en-GB" sz="1400" dirty="0">
              <a:solidFill>
                <a:srgbClr val="808080"/>
              </a:solidFill>
              <a:latin typeface="Arial"/>
            </a:endParaRPr>
          </a:p>
        </p:txBody>
      </p:sp>
      <p:sp>
        <p:nvSpPr>
          <p:cNvPr id="11" name="McK 3. Unit of measure" hidden="1"/>
          <p:cNvSpPr txBox="1">
            <a:spLocks noChangeArrowheads="1"/>
          </p:cNvSpPr>
          <p:nvPr/>
        </p:nvSpPr>
        <p:spPr bwMode="auto">
          <a:xfrm>
            <a:off x="202879" y="480821"/>
            <a:ext cx="1038804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600" dirty="0" smtClean="0">
                <a:solidFill>
                  <a:srgbClr val="808080"/>
                </a:solidFill>
                <a:latin typeface="Arial"/>
              </a:rPr>
              <a:t>Unit of measure</a:t>
            </a:r>
          </a:p>
        </p:txBody>
      </p:sp>
      <p:grpSp>
        <p:nvGrpSpPr>
          <p:cNvPr id="15" name="ACET" hidden="1"/>
          <p:cNvGrpSpPr>
            <a:grpSpLocks/>
          </p:cNvGrpSpPr>
          <p:nvPr/>
        </p:nvGrpSpPr>
        <p:grpSpPr bwMode="auto">
          <a:xfrm>
            <a:off x="2767787" y="1716729"/>
            <a:ext cx="5139491" cy="510957"/>
            <a:chOff x="915" y="674"/>
            <a:chExt cx="2686" cy="356"/>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4"/>
              <a:ext cx="2686" cy="35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GB" sz="1600" b="1" dirty="0" smtClean="0">
                  <a:solidFill>
                    <a:srgbClr val="7A6E67"/>
                  </a:solidFill>
                  <a:latin typeface="Arial"/>
                </a:rPr>
                <a:t>Title</a:t>
              </a:r>
            </a:p>
            <a:p>
              <a:pPr eaLnBrk="1" hangingPunct="1"/>
              <a:r>
                <a:rPr lang="en-GB" sz="1600" dirty="0" smtClean="0">
                  <a:solidFill>
                    <a:srgbClr val="808080"/>
                  </a:solidFill>
                  <a:latin typeface="Arial"/>
                </a:rPr>
                <a:t>Unit of measure</a:t>
              </a:r>
              <a:endParaRPr lang="en-GB" sz="1600" dirty="0">
                <a:solidFill>
                  <a:srgbClr val="808080"/>
                </a:solidFill>
                <a:latin typeface="Arial"/>
              </a:endParaRPr>
            </a:p>
          </p:txBody>
        </p:sp>
      </p:grpSp>
      <p:grpSp>
        <p:nvGrpSpPr>
          <p:cNvPr id="58" name="McK Slide Elements" hidden="1"/>
          <p:cNvGrpSpPr>
            <a:grpSpLocks/>
          </p:cNvGrpSpPr>
          <p:nvPr/>
        </p:nvGrpSpPr>
        <p:grpSpPr bwMode="auto">
          <a:xfrm>
            <a:off x="682183" y="5620120"/>
            <a:ext cx="9908742" cy="334418"/>
            <a:chOff x="73" y="3917"/>
            <a:chExt cx="5333" cy="233"/>
          </a:xfrm>
        </p:grpSpPr>
        <p:sp>
          <p:nvSpPr>
            <p:cNvPr id="59" name="McK 4. Footnote"/>
            <p:cNvSpPr txBox="1">
              <a:spLocks noChangeArrowheads="1"/>
            </p:cNvSpPr>
            <p:nvPr/>
          </p:nvSpPr>
          <p:spPr bwMode="auto">
            <a:xfrm>
              <a:off x="73" y="3917"/>
              <a:ext cx="533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000" dirty="0" smtClean="0">
                  <a:solidFill>
                    <a:srgbClr val="7A6E67"/>
                  </a:solidFill>
                  <a:latin typeface="Arial"/>
                </a:rPr>
                <a:t>1 Footnote</a:t>
              </a:r>
            </a:p>
          </p:txBody>
        </p:sp>
        <p:sp>
          <p:nvSpPr>
            <p:cNvPr id="60" name="McK 5. Source"/>
            <p:cNvSpPr>
              <a:spLocks noChangeArrowheads="1"/>
            </p:cNvSpPr>
            <p:nvPr/>
          </p:nvSpPr>
          <p:spPr bwMode="auto">
            <a:xfrm>
              <a:off x="75" y="4043"/>
              <a:ext cx="500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9900" indent="-469900" defTabSz="913429" eaLnBrk="1" hangingPunct="1"/>
              <a:r>
                <a:rPr lang="en-GB" sz="1000" smtClean="0">
                  <a:solidFill>
                    <a:srgbClr val="7A6E67"/>
                  </a:solidFill>
                  <a:latin typeface="Arial"/>
                </a:rPr>
                <a:t>SOURCE: </a:t>
              </a:r>
              <a:r>
                <a:rPr lang="en-GB" sz="1000" dirty="0" smtClean="0">
                  <a:solidFill>
                    <a:srgbClr val="7A6E67"/>
                  </a:solidFill>
                  <a:latin typeface="Arial"/>
                </a:rPr>
                <a:t>Source</a:t>
              </a:r>
            </a:p>
          </p:txBody>
        </p:sp>
      </p:grpSp>
      <p:sp>
        <p:nvSpPr>
          <p:cNvPr id="57" name="Slide Number Placeholder 1"/>
          <p:cNvSpPr txBox="1">
            <a:spLocks/>
          </p:cNvSpPr>
          <p:nvPr/>
        </p:nvSpPr>
        <p:spPr bwMode="auto">
          <a:xfrm>
            <a:off x="10437606" y="5809427"/>
            <a:ext cx="157094" cy="153888"/>
          </a:xfrm>
          <a:prstGeom prst="rect">
            <a:avLst/>
          </a:prstGeom>
        </p:spPr>
        <p:txBody>
          <a:bodyPr vert="horz" wrap="non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mn-lt"/>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a:lstStyle>
          <a:p>
            <a:pPr eaLnBrk="1" hangingPunct="1"/>
            <a:fld id="{42C328C1-A84F-4A39-A664-DBA00541A8C6}" type="slidenum">
              <a:rPr lang="en-GB">
                <a:solidFill>
                  <a:srgbClr val="7A6E67"/>
                </a:solidFill>
              </a:rPr>
              <a:pPr eaLnBrk="1" hangingPunct="1"/>
              <a:t>‹#›</a:t>
            </a:fld>
            <a:endParaRPr lang="en-GB" dirty="0">
              <a:solidFill>
                <a:srgbClr val="7A6E67"/>
              </a:solidFill>
            </a:endParaRPr>
          </a:p>
        </p:txBody>
      </p:sp>
      <p:grpSp>
        <p:nvGrpSpPr>
          <p:cNvPr id="61" name="LegendBoxes" hidden="1"/>
          <p:cNvGrpSpPr>
            <a:grpSpLocks/>
          </p:cNvGrpSpPr>
          <p:nvPr/>
        </p:nvGrpSpPr>
        <p:grpSpPr bwMode="auto">
          <a:xfrm>
            <a:off x="9692708" y="252271"/>
            <a:ext cx="810101" cy="904510"/>
            <a:chOff x="4936" y="176"/>
            <a:chExt cx="432" cy="643"/>
          </a:xfrm>
        </p:grpSpPr>
        <p:sp>
          <p:nvSpPr>
            <p:cNvPr id="62" name="Legend1"/>
            <p:cNvSpPr>
              <a:spLocks noChangeArrowheads="1"/>
            </p:cNvSpPr>
            <p:nvPr/>
          </p:nvSpPr>
          <p:spPr bwMode="auto">
            <a:xfrm>
              <a:off x="5096" y="17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6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5" name="Legend2"/>
            <p:cNvSpPr>
              <a:spLocks noChangeArrowheads="1"/>
            </p:cNvSpPr>
            <p:nvPr/>
          </p:nvSpPr>
          <p:spPr bwMode="auto">
            <a:xfrm>
              <a:off x="5096" y="34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8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7" name="Legend3"/>
            <p:cNvSpPr>
              <a:spLocks noChangeArrowheads="1"/>
            </p:cNvSpPr>
            <p:nvPr/>
          </p:nvSpPr>
          <p:spPr bwMode="auto">
            <a:xfrm>
              <a:off x="5096" y="517"/>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8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9" name="Legend4"/>
            <p:cNvSpPr>
              <a:spLocks noChangeArrowheads="1"/>
            </p:cNvSpPr>
            <p:nvPr/>
          </p:nvSpPr>
          <p:spPr bwMode="auto">
            <a:xfrm>
              <a:off x="5096" y="688"/>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grpSp>
      <p:grpSp>
        <p:nvGrpSpPr>
          <p:cNvPr id="91" name="LegendLines" hidden="1"/>
          <p:cNvGrpSpPr>
            <a:grpSpLocks/>
          </p:cNvGrpSpPr>
          <p:nvPr/>
        </p:nvGrpSpPr>
        <p:grpSpPr bwMode="auto">
          <a:xfrm>
            <a:off x="9328919" y="252272"/>
            <a:ext cx="1173897" cy="668185"/>
            <a:chOff x="4750" y="176"/>
            <a:chExt cx="626" cy="475"/>
          </a:xfrm>
        </p:grpSpPr>
        <p:sp>
          <p:nvSpPr>
            <p:cNvPr id="9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5" name="Legend1"/>
            <p:cNvSpPr>
              <a:spLocks noChangeArrowheads="1"/>
            </p:cNvSpPr>
            <p:nvPr/>
          </p:nvSpPr>
          <p:spPr bwMode="auto">
            <a:xfrm>
              <a:off x="5104" y="17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6" name="Legend2"/>
            <p:cNvSpPr>
              <a:spLocks noChangeArrowheads="1"/>
            </p:cNvSpPr>
            <p:nvPr/>
          </p:nvSpPr>
          <p:spPr bwMode="auto">
            <a:xfrm>
              <a:off x="5104" y="344"/>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7" name="Legend3"/>
            <p:cNvSpPr>
              <a:spLocks noChangeArrowheads="1"/>
            </p:cNvSpPr>
            <p:nvPr/>
          </p:nvSpPr>
          <p:spPr bwMode="auto">
            <a:xfrm>
              <a:off x="5104" y="520"/>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grpSp>
      <p:grpSp>
        <p:nvGrpSpPr>
          <p:cNvPr id="98" name="McKSticker" hidden="1"/>
          <p:cNvGrpSpPr/>
          <p:nvPr/>
        </p:nvGrpSpPr>
        <p:grpSpPr bwMode="auto">
          <a:xfrm>
            <a:off x="9527801" y="252270"/>
            <a:ext cx="1066894" cy="212366"/>
            <a:chOff x="7837585" y="285750"/>
            <a:chExt cx="903190" cy="239661"/>
          </a:xfrm>
        </p:grpSpPr>
        <p:sp>
          <p:nvSpPr>
            <p:cNvPr id="99" name="StickerRectangle"/>
            <p:cNvSpPr>
              <a:spLocks noChangeArrowheads="1"/>
            </p:cNvSpPr>
            <p:nvPr/>
          </p:nvSpPr>
          <p:spPr bwMode="auto">
            <a:xfrm>
              <a:off x="7837585" y="285750"/>
              <a:ext cx="903190" cy="2396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eaLnBrk="1" hangingPunct="1">
                <a:buClr>
                  <a:srgbClr val="7A6E67"/>
                </a:buClr>
              </a:pPr>
              <a:r>
                <a:rPr lang="en-GB" sz="1200" dirty="0" smtClean="0">
                  <a:solidFill>
                    <a:srgbClr val="808080"/>
                  </a:solidFill>
                  <a:latin typeface="Arial"/>
                </a:rPr>
                <a:t>PRELIMINARY</a:t>
              </a:r>
              <a:endParaRPr lang="en-GB" sz="1200" dirty="0">
                <a:solidFill>
                  <a:srgbClr val="808080"/>
                </a:solidFill>
                <a:latin typeface="Arial"/>
              </a:endParaRPr>
            </a:p>
          </p:txBody>
        </p:sp>
        <p:cxnSp>
          <p:nvCxnSpPr>
            <p:cNvPr id="100" name="AutoShape 31"/>
            <p:cNvCxnSpPr>
              <a:cxnSpLocks noChangeShapeType="1"/>
              <a:stCxn id="99" idx="2"/>
              <a:endCxn id="99" idx="4"/>
            </p:cNvCxnSpPr>
            <p:nvPr/>
          </p:nvCxnSpPr>
          <p:spPr bwMode="auto">
            <a:xfrm>
              <a:off x="7837585" y="285750"/>
              <a:ext cx="0" cy="23966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1" name="AutoShape 32"/>
            <p:cNvCxnSpPr>
              <a:cxnSpLocks noChangeShapeType="1"/>
              <a:stCxn id="99" idx="4"/>
              <a:endCxn id="99" idx="6"/>
            </p:cNvCxnSpPr>
            <p:nvPr/>
          </p:nvCxnSpPr>
          <p:spPr bwMode="auto">
            <a:xfrm>
              <a:off x="7837585" y="525411"/>
              <a:ext cx="90319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2" name="LegendMoons" hidden="1"/>
          <p:cNvGrpSpPr/>
          <p:nvPr/>
        </p:nvGrpSpPr>
        <p:grpSpPr bwMode="auto">
          <a:xfrm>
            <a:off x="9613757" y="252274"/>
            <a:ext cx="888552" cy="1167953"/>
            <a:chOff x="7769225" y="2105025"/>
            <a:chExt cx="752215" cy="1318066"/>
          </a:xfrm>
        </p:grpSpPr>
        <p:grpSp>
          <p:nvGrpSpPr>
            <p:cNvPr id="103" name="MoonLegend1"/>
            <p:cNvGrpSpPr>
              <a:grpSpLocks noChangeAspect="1"/>
            </p:cNvGrpSpPr>
            <p:nvPr>
              <p:custDataLst>
                <p:tags r:id="rId12"/>
              </p:custDataLst>
            </p:nvPr>
          </p:nvGrpSpPr>
          <p:grpSpPr bwMode="auto">
            <a:xfrm>
              <a:off x="7769225" y="2105025"/>
              <a:ext cx="209550" cy="209551"/>
              <a:chOff x="4533" y="183"/>
              <a:chExt cx="144" cy="144"/>
            </a:xfrm>
          </p:grpSpPr>
          <p:sp>
            <p:nvSpPr>
              <p:cNvPr id="121" name="Oval 38"/>
              <p:cNvSpPr>
                <a:spLocks noChangeAspect="1" noChangeArrowheads="1"/>
              </p:cNvSpPr>
              <p:nvPr>
                <p:custDataLst>
                  <p:tags r:id="rId25"/>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22"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4" name="MoonLegend2"/>
            <p:cNvGrpSpPr>
              <a:grpSpLocks noChangeAspect="1"/>
            </p:cNvGrpSpPr>
            <p:nvPr>
              <p:custDataLst>
                <p:tags r:id="rId13"/>
              </p:custDataLst>
            </p:nvPr>
          </p:nvGrpSpPr>
          <p:grpSpPr bwMode="auto">
            <a:xfrm>
              <a:off x="7769225" y="2379266"/>
              <a:ext cx="209550" cy="209551"/>
              <a:chOff x="1694" y="2044"/>
              <a:chExt cx="160" cy="160"/>
            </a:xfrm>
          </p:grpSpPr>
          <p:sp>
            <p:nvSpPr>
              <p:cNvPr id="119" name="Oval 41"/>
              <p:cNvSpPr>
                <a:spLocks noChangeAspect="1" noChangeArrowheads="1"/>
              </p:cNvSpPr>
              <p:nvPr>
                <p:custDataLst>
                  <p:tags r:id="rId23"/>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20" name="Arc 42"/>
              <p:cNvSpPr>
                <a:spLocks noChangeAspect="1"/>
              </p:cNvSpPr>
              <p:nvPr>
                <p:custDataLst>
                  <p:tags r:id="rId24"/>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5" name="MoonLegend4"/>
            <p:cNvGrpSpPr>
              <a:grpSpLocks noChangeAspect="1"/>
            </p:cNvGrpSpPr>
            <p:nvPr>
              <p:custDataLst>
                <p:tags r:id="rId14"/>
              </p:custDataLst>
            </p:nvPr>
          </p:nvGrpSpPr>
          <p:grpSpPr bwMode="auto">
            <a:xfrm>
              <a:off x="7769225" y="2927748"/>
              <a:ext cx="209550" cy="209551"/>
              <a:chOff x="4495" y="1198"/>
              <a:chExt cx="160" cy="160"/>
            </a:xfrm>
          </p:grpSpPr>
          <p:sp>
            <p:nvSpPr>
              <p:cNvPr id="117"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8"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6" name="MoonLegend5"/>
            <p:cNvGrpSpPr>
              <a:grpSpLocks noChangeAspect="1"/>
            </p:cNvGrpSpPr>
            <p:nvPr>
              <p:custDataLst>
                <p:tags r:id="rId15"/>
              </p:custDataLst>
            </p:nvPr>
          </p:nvGrpSpPr>
          <p:grpSpPr bwMode="auto">
            <a:xfrm>
              <a:off x="7769225" y="3201990"/>
              <a:ext cx="209550" cy="209551"/>
              <a:chOff x="4495" y="1440"/>
              <a:chExt cx="160" cy="160"/>
            </a:xfrm>
          </p:grpSpPr>
          <p:sp>
            <p:nvSpPr>
              <p:cNvPr id="115" name="Oval 50"/>
              <p:cNvSpPr>
                <a:spLocks noChangeAspect="1" noChangeArrowheads="1"/>
              </p:cNvSpPr>
              <p:nvPr>
                <p:custDataLst>
                  <p:tags r:id="rId19"/>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6"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sp>
          <p:nvSpPr>
            <p:cNvPr id="107" name="Legend1"/>
            <p:cNvSpPr>
              <a:spLocks noChangeArrowheads="1"/>
            </p:cNvSpPr>
            <p:nvPr/>
          </p:nvSpPr>
          <p:spPr bwMode="auto">
            <a:xfrm>
              <a:off x="8089900" y="2117725"/>
              <a:ext cx="431540"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08" name="Legend2"/>
            <p:cNvSpPr>
              <a:spLocks noChangeArrowheads="1"/>
            </p:cNvSpPr>
            <p:nvPr/>
          </p:nvSpPr>
          <p:spPr bwMode="auto">
            <a:xfrm>
              <a:off x="8089900" y="2392363"/>
              <a:ext cx="431540"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09" name="Legend3"/>
            <p:cNvSpPr>
              <a:spLocks noChangeArrowheads="1"/>
            </p:cNvSpPr>
            <p:nvPr/>
          </p:nvSpPr>
          <p:spPr bwMode="auto">
            <a:xfrm>
              <a:off x="8089900" y="2667002"/>
              <a:ext cx="431540"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10" name="Legend4"/>
            <p:cNvSpPr>
              <a:spLocks noChangeArrowheads="1"/>
            </p:cNvSpPr>
            <p:nvPr/>
          </p:nvSpPr>
          <p:spPr bwMode="auto">
            <a:xfrm>
              <a:off x="8089900" y="2938465"/>
              <a:ext cx="431540"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11" name="Legend5"/>
            <p:cNvSpPr>
              <a:spLocks noChangeArrowheads="1"/>
            </p:cNvSpPr>
            <p:nvPr/>
          </p:nvSpPr>
          <p:spPr bwMode="auto">
            <a:xfrm>
              <a:off x="8089900" y="3214690"/>
              <a:ext cx="431540"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grpSp>
          <p:nvGrpSpPr>
            <p:cNvPr id="112" name="MoonLegend3"/>
            <p:cNvGrpSpPr>
              <a:grpSpLocks noChangeAspect="1"/>
            </p:cNvGrpSpPr>
            <p:nvPr>
              <p:custDataLst>
                <p:tags r:id="rId16"/>
              </p:custDataLst>
            </p:nvPr>
          </p:nvGrpSpPr>
          <p:grpSpPr bwMode="auto">
            <a:xfrm>
              <a:off x="7769225" y="2653507"/>
              <a:ext cx="209550" cy="209551"/>
              <a:chOff x="4495" y="1198"/>
              <a:chExt cx="160" cy="160"/>
            </a:xfrm>
          </p:grpSpPr>
          <p:sp>
            <p:nvSpPr>
              <p:cNvPr id="113" name="Oval 47"/>
              <p:cNvSpPr>
                <a:spLocks noChangeAspect="1" noChangeArrowheads="1"/>
              </p:cNvSpPr>
              <p:nvPr>
                <p:custDataLst>
                  <p:tags r:id="rId17"/>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4"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pic>
        <p:nvPicPr>
          <p:cNvPr id="64" name="Picture 2" descr="C:\Users\ndenic\Documents\Design Projects\Logos\SWIFT_Logo Warm Grey.emf"/>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06654" y="5684943"/>
            <a:ext cx="340238" cy="255228"/>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McK Moon" hidden="1"/>
          <p:cNvGrpSpPr>
            <a:grpSpLocks noChangeAspect="1"/>
          </p:cNvGrpSpPr>
          <p:nvPr>
            <p:custDataLst>
              <p:tags r:id="rId9"/>
            </p:custDataLst>
          </p:nvPr>
        </p:nvGrpSpPr>
        <p:grpSpPr bwMode="auto">
          <a:xfrm>
            <a:off x="8675102" y="247393"/>
            <a:ext cx="300038" cy="225072"/>
            <a:chOff x="1600" y="1600"/>
            <a:chExt cx="160" cy="160"/>
          </a:xfrm>
        </p:grpSpPr>
        <p:sp>
          <p:nvSpPr>
            <p:cNvPr id="66"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67" name="Arc 91"/>
            <p:cNvSpPr>
              <a:spLocks noChangeAspect="1"/>
            </p:cNvSpPr>
            <p:nvPr>
              <p:custDataLst>
                <p:tags r:id="rId11"/>
              </p:custDataLst>
            </p:nvPr>
          </p:nvSpPr>
          <p:spPr bwMode="auto">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spTree>
    <p:extLst>
      <p:ext uri="{BB962C8B-B14F-4D97-AF65-F5344CB8AC3E}">
        <p14:creationId xmlns:p14="http://schemas.microsoft.com/office/powerpoint/2010/main" val="948959222"/>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Lst>
  <p:timing>
    <p:tnLst>
      <p:par>
        <p:cTn id="1" dur="indefinite" restart="never" nodeType="tmRoot"/>
      </p:par>
    </p:tnLst>
  </p:timing>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8"/>
            </p:custDataLst>
            <p:extLst>
              <p:ext uri="{D42A27DB-BD31-4B8C-83A1-F6EECF244321}">
                <p14:modId xmlns:p14="http://schemas.microsoft.com/office/powerpoint/2010/main" val="1525235971"/>
              </p:ext>
            </p:extLst>
          </p:nvPr>
        </p:nvGraphicFramePr>
        <p:xfrm>
          <a:off x="0" y="0"/>
          <a:ext cx="191344" cy="143527"/>
        </p:xfrm>
        <a:graphic>
          <a:graphicData uri="http://schemas.openxmlformats.org/presentationml/2006/ole">
            <mc:AlternateContent xmlns:mc="http://schemas.openxmlformats.org/markup-compatibility/2006">
              <mc:Choice xmlns:v="urn:schemas-microsoft-com:vml" Requires="v">
                <p:oleObj spid="_x0000_s4124"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91344" cy="143527"/>
                      </a:xfrm>
                      <a:prstGeom prst="rect">
                        <a:avLst/>
                      </a:prstGeom>
                    </p:spPr>
                  </p:pic>
                </p:oleObj>
              </mc:Fallback>
            </mc:AlternateContent>
          </a:graphicData>
        </a:graphic>
      </p:graphicFrame>
      <p:sp>
        <p:nvSpPr>
          <p:cNvPr id="1034" name="Working Draft" hidden="1"/>
          <p:cNvSpPr txBox="1">
            <a:spLocks noChangeArrowheads="1"/>
          </p:cNvSpPr>
          <p:nvPr/>
        </p:nvSpPr>
        <p:spPr bwMode="auto">
          <a:xfrm rot="5400000">
            <a:off x="9719289" y="1750081"/>
            <a:ext cx="199573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7A6E67"/>
                </a:solidFill>
                <a:latin typeface="Arial"/>
              </a:rPr>
              <a:t>Last Modified 16.12.2015 17:55 W. Europe Standard Time</a:t>
            </a:r>
            <a:endParaRPr lang="en-GB" dirty="0" smtClean="0">
              <a:solidFill>
                <a:srgbClr val="7A6E67"/>
              </a:solidFill>
              <a:latin typeface="Arial"/>
            </a:endParaRPr>
          </a:p>
        </p:txBody>
      </p:sp>
      <p:sp>
        <p:nvSpPr>
          <p:cNvPr id="1035" name="Printed" hidden="1"/>
          <p:cNvSpPr txBox="1">
            <a:spLocks noChangeArrowheads="1"/>
          </p:cNvSpPr>
          <p:nvPr/>
        </p:nvSpPr>
        <p:spPr bwMode="auto">
          <a:xfrm rot="5400000">
            <a:off x="9826692" y="3715458"/>
            <a:ext cx="178093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solidFill>
                  <a:srgbClr val="7A6E67"/>
                </a:solidFill>
                <a:latin typeface="Arial"/>
              </a:rPr>
              <a:t>Printed 16.12.2015 17:54 W. Europe Standard Time</a:t>
            </a:r>
            <a:endParaRPr lang="en-GB" dirty="0" smtClean="0">
              <a:solidFill>
                <a:srgbClr val="7A6E67"/>
              </a:solidFill>
              <a:latin typeface="Arial"/>
            </a:endParaRPr>
          </a:p>
        </p:txBody>
      </p:sp>
      <p:sp>
        <p:nvSpPr>
          <p:cNvPr id="1036" name="Rectangle 286"/>
          <p:cNvSpPr>
            <a:spLocks noGrp="1" noChangeArrowheads="1"/>
          </p:cNvSpPr>
          <p:nvPr>
            <p:ph type="body" idx="1"/>
          </p:nvPr>
        </p:nvSpPr>
        <p:spPr bwMode="auto">
          <a:xfrm>
            <a:off x="2767786" y="2278065"/>
            <a:ext cx="5185413" cy="123110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9" name="Title Placeholder 2"/>
          <p:cNvSpPr>
            <a:spLocks noGrp="1" noChangeArrowheads="1"/>
          </p:cNvSpPr>
          <p:nvPr>
            <p:ph type="title"/>
          </p:nvPr>
        </p:nvSpPr>
        <p:spPr bwMode="auto">
          <a:xfrm>
            <a:off x="206654" y="208115"/>
            <a:ext cx="10388046"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GB" noProof="0" dirty="0" smtClean="0"/>
              <a:t>Click to edit Master title style</a:t>
            </a:r>
          </a:p>
        </p:txBody>
      </p:sp>
      <p:sp>
        <p:nvSpPr>
          <p:cNvPr id="10" name="McK 1. On-page tracker" hidden="1"/>
          <p:cNvSpPr>
            <a:spLocks noChangeArrowheads="1"/>
          </p:cNvSpPr>
          <p:nvPr/>
        </p:nvSpPr>
        <p:spPr bwMode="auto">
          <a:xfrm>
            <a:off x="206653" y="15789"/>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eaLnBrk="1" hangingPunct="1"/>
            <a:r>
              <a:rPr lang="en-GB" sz="1400" dirty="0" smtClean="0">
                <a:solidFill>
                  <a:srgbClr val="808080"/>
                </a:solidFill>
                <a:latin typeface="Arial"/>
              </a:rPr>
              <a:t>TRACKER</a:t>
            </a:r>
            <a:endParaRPr lang="en-GB" sz="1400" dirty="0">
              <a:solidFill>
                <a:srgbClr val="808080"/>
              </a:solidFill>
              <a:latin typeface="Arial"/>
            </a:endParaRPr>
          </a:p>
        </p:txBody>
      </p:sp>
      <p:sp>
        <p:nvSpPr>
          <p:cNvPr id="11" name="McK 3. Unit of measure" hidden="1"/>
          <p:cNvSpPr txBox="1">
            <a:spLocks noChangeArrowheads="1"/>
          </p:cNvSpPr>
          <p:nvPr/>
        </p:nvSpPr>
        <p:spPr bwMode="auto">
          <a:xfrm>
            <a:off x="202877" y="480819"/>
            <a:ext cx="10388046"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600" dirty="0" smtClean="0">
                <a:solidFill>
                  <a:srgbClr val="808080"/>
                </a:solidFill>
                <a:latin typeface="Arial"/>
              </a:rPr>
              <a:t>Unit of measure</a:t>
            </a:r>
          </a:p>
        </p:txBody>
      </p:sp>
      <p:grpSp>
        <p:nvGrpSpPr>
          <p:cNvPr id="15" name="ACET" hidden="1"/>
          <p:cNvGrpSpPr>
            <a:grpSpLocks/>
          </p:cNvGrpSpPr>
          <p:nvPr/>
        </p:nvGrpSpPr>
        <p:grpSpPr bwMode="auto">
          <a:xfrm>
            <a:off x="2767786" y="1716732"/>
            <a:ext cx="5139491" cy="510957"/>
            <a:chOff x="915" y="674"/>
            <a:chExt cx="2686" cy="356"/>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74"/>
              <a:ext cx="2686" cy="35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eaLnBrk="1" hangingPunct="1"/>
              <a:r>
                <a:rPr lang="en-GB" sz="1600" b="1" dirty="0" smtClean="0">
                  <a:solidFill>
                    <a:srgbClr val="7A6E67"/>
                  </a:solidFill>
                  <a:latin typeface="Arial"/>
                </a:rPr>
                <a:t>Title</a:t>
              </a:r>
            </a:p>
            <a:p>
              <a:pPr eaLnBrk="1" hangingPunct="1"/>
              <a:r>
                <a:rPr lang="en-GB" sz="1600" dirty="0" smtClean="0">
                  <a:solidFill>
                    <a:srgbClr val="808080"/>
                  </a:solidFill>
                  <a:latin typeface="Arial"/>
                </a:rPr>
                <a:t>Unit of measure</a:t>
              </a:r>
              <a:endParaRPr lang="en-GB" sz="1600" dirty="0">
                <a:solidFill>
                  <a:srgbClr val="808080"/>
                </a:solidFill>
                <a:latin typeface="Arial"/>
              </a:endParaRPr>
            </a:p>
          </p:txBody>
        </p:sp>
      </p:grpSp>
      <p:grpSp>
        <p:nvGrpSpPr>
          <p:cNvPr id="58" name="McK Slide Elements" hidden="1"/>
          <p:cNvGrpSpPr>
            <a:grpSpLocks/>
          </p:cNvGrpSpPr>
          <p:nvPr/>
        </p:nvGrpSpPr>
        <p:grpSpPr bwMode="auto">
          <a:xfrm>
            <a:off x="682181" y="5620132"/>
            <a:ext cx="9908742" cy="334418"/>
            <a:chOff x="73" y="3917"/>
            <a:chExt cx="5333" cy="233"/>
          </a:xfrm>
        </p:grpSpPr>
        <p:sp>
          <p:nvSpPr>
            <p:cNvPr id="59" name="McK 4. Footnote"/>
            <p:cNvSpPr txBox="1">
              <a:spLocks noChangeArrowheads="1"/>
            </p:cNvSpPr>
            <p:nvPr/>
          </p:nvSpPr>
          <p:spPr bwMode="auto">
            <a:xfrm>
              <a:off x="73" y="3917"/>
              <a:ext cx="5333"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en-GB" sz="1000" dirty="0" smtClean="0">
                  <a:solidFill>
                    <a:srgbClr val="7A6E67"/>
                  </a:solidFill>
                  <a:latin typeface="Arial"/>
                </a:rPr>
                <a:t>1 Footnote</a:t>
              </a:r>
            </a:p>
          </p:txBody>
        </p:sp>
        <p:sp>
          <p:nvSpPr>
            <p:cNvPr id="60" name="McK 5. Source"/>
            <p:cNvSpPr>
              <a:spLocks noChangeArrowheads="1"/>
            </p:cNvSpPr>
            <p:nvPr/>
          </p:nvSpPr>
          <p:spPr bwMode="auto">
            <a:xfrm>
              <a:off x="75" y="4043"/>
              <a:ext cx="5009" cy="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spAutoFit/>
            </a:bodyPr>
            <a:lstStyle/>
            <a:p>
              <a:pPr marL="469900" indent="-469900" defTabSz="913429" eaLnBrk="1" hangingPunct="1"/>
              <a:r>
                <a:rPr lang="en-GB" sz="1000" smtClean="0">
                  <a:solidFill>
                    <a:srgbClr val="7A6E67"/>
                  </a:solidFill>
                  <a:latin typeface="Arial"/>
                </a:rPr>
                <a:t>SOURCE: </a:t>
              </a:r>
              <a:r>
                <a:rPr lang="en-GB" sz="1000" dirty="0" smtClean="0">
                  <a:solidFill>
                    <a:srgbClr val="7A6E67"/>
                  </a:solidFill>
                  <a:latin typeface="Arial"/>
                </a:rPr>
                <a:t>Source</a:t>
              </a:r>
            </a:p>
          </p:txBody>
        </p:sp>
      </p:grpSp>
      <p:sp>
        <p:nvSpPr>
          <p:cNvPr id="57" name="Slide Number Placeholder 1"/>
          <p:cNvSpPr txBox="1">
            <a:spLocks/>
          </p:cNvSpPr>
          <p:nvPr/>
        </p:nvSpPr>
        <p:spPr bwMode="auto">
          <a:xfrm>
            <a:off x="10437606" y="5809429"/>
            <a:ext cx="157094" cy="153888"/>
          </a:xfrm>
          <a:prstGeom prst="rect">
            <a:avLst/>
          </a:prstGeom>
        </p:spPr>
        <p:txBody>
          <a:bodyPr vert="horz" wrap="none" lIns="0" tIns="0" rIns="0" bIns="0" rtlCol="0" anchor="ctr">
            <a:spAutoFit/>
          </a:bodyPr>
          <a:lstStyle>
            <a:defPPr>
              <a:defRPr lang="en-US"/>
            </a:defPPr>
            <a:lvl1pPr algn="r" rtl="0" fontAlgn="base">
              <a:spcBef>
                <a:spcPct val="0"/>
              </a:spcBef>
              <a:spcAft>
                <a:spcPct val="0"/>
              </a:spcAft>
              <a:defRPr lang="en-US" sz="1000" kern="1200" baseline="0" smtClean="0">
                <a:solidFill>
                  <a:schemeClr val="tx1"/>
                </a:solidFill>
                <a:latin typeface="+mn-lt"/>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a:lstStyle>
          <a:p>
            <a:pPr eaLnBrk="1" hangingPunct="1"/>
            <a:fld id="{42C328C1-A84F-4A39-A664-DBA00541A8C6}" type="slidenum">
              <a:rPr lang="en-GB">
                <a:solidFill>
                  <a:srgbClr val="7A6E67"/>
                </a:solidFill>
              </a:rPr>
              <a:pPr eaLnBrk="1" hangingPunct="1"/>
              <a:t>‹#›</a:t>
            </a:fld>
            <a:endParaRPr lang="en-GB" dirty="0">
              <a:solidFill>
                <a:srgbClr val="7A6E67"/>
              </a:solidFill>
            </a:endParaRPr>
          </a:p>
        </p:txBody>
      </p:sp>
      <p:grpSp>
        <p:nvGrpSpPr>
          <p:cNvPr id="61" name="LegendBoxes" hidden="1"/>
          <p:cNvGrpSpPr>
            <a:grpSpLocks/>
          </p:cNvGrpSpPr>
          <p:nvPr/>
        </p:nvGrpSpPr>
        <p:grpSpPr bwMode="auto">
          <a:xfrm>
            <a:off x="9692706" y="252271"/>
            <a:ext cx="810101" cy="904510"/>
            <a:chOff x="4936" y="176"/>
            <a:chExt cx="432" cy="643"/>
          </a:xfrm>
        </p:grpSpPr>
        <p:sp>
          <p:nvSpPr>
            <p:cNvPr id="62" name="Legend1"/>
            <p:cNvSpPr>
              <a:spLocks noChangeArrowheads="1"/>
            </p:cNvSpPr>
            <p:nvPr/>
          </p:nvSpPr>
          <p:spPr bwMode="auto">
            <a:xfrm>
              <a:off x="5096" y="17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6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5" name="Legend2"/>
            <p:cNvSpPr>
              <a:spLocks noChangeArrowheads="1"/>
            </p:cNvSpPr>
            <p:nvPr/>
          </p:nvSpPr>
          <p:spPr bwMode="auto">
            <a:xfrm>
              <a:off x="5096" y="34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8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7" name="Legend3"/>
            <p:cNvSpPr>
              <a:spLocks noChangeArrowheads="1"/>
            </p:cNvSpPr>
            <p:nvPr/>
          </p:nvSpPr>
          <p:spPr bwMode="auto">
            <a:xfrm>
              <a:off x="5096" y="517"/>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8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sp>
          <p:nvSpPr>
            <p:cNvPr id="89" name="Legend4"/>
            <p:cNvSpPr>
              <a:spLocks noChangeArrowheads="1"/>
            </p:cNvSpPr>
            <p:nvPr/>
          </p:nvSpPr>
          <p:spPr bwMode="auto">
            <a:xfrm>
              <a:off x="5096" y="688"/>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latin typeface="Arial"/>
              </a:endParaRPr>
            </a:p>
          </p:txBody>
        </p:sp>
      </p:grpSp>
      <p:grpSp>
        <p:nvGrpSpPr>
          <p:cNvPr id="91" name="LegendLines" hidden="1"/>
          <p:cNvGrpSpPr>
            <a:grpSpLocks/>
          </p:cNvGrpSpPr>
          <p:nvPr/>
        </p:nvGrpSpPr>
        <p:grpSpPr bwMode="auto">
          <a:xfrm>
            <a:off x="9328913" y="252270"/>
            <a:ext cx="1173897" cy="668185"/>
            <a:chOff x="4750" y="176"/>
            <a:chExt cx="626" cy="475"/>
          </a:xfrm>
        </p:grpSpPr>
        <p:sp>
          <p:nvSpPr>
            <p:cNvPr id="9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endParaRPr lang="en-GB" sz="1600" dirty="0">
                <a:solidFill>
                  <a:srgbClr val="7A6E67"/>
                </a:solidFill>
                <a:latin typeface="Arial"/>
              </a:endParaRPr>
            </a:p>
          </p:txBody>
        </p:sp>
        <p:sp>
          <p:nvSpPr>
            <p:cNvPr id="95" name="Legend1"/>
            <p:cNvSpPr>
              <a:spLocks noChangeArrowheads="1"/>
            </p:cNvSpPr>
            <p:nvPr/>
          </p:nvSpPr>
          <p:spPr bwMode="auto">
            <a:xfrm>
              <a:off x="5104" y="176"/>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6" name="Legend2"/>
            <p:cNvSpPr>
              <a:spLocks noChangeArrowheads="1"/>
            </p:cNvSpPr>
            <p:nvPr/>
          </p:nvSpPr>
          <p:spPr bwMode="auto">
            <a:xfrm>
              <a:off x="5104" y="344"/>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97" name="Legend3"/>
            <p:cNvSpPr>
              <a:spLocks noChangeArrowheads="1"/>
            </p:cNvSpPr>
            <p:nvPr/>
          </p:nvSpPr>
          <p:spPr bwMode="auto">
            <a:xfrm>
              <a:off x="5104" y="520"/>
              <a:ext cx="272" cy="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grpSp>
      <p:grpSp>
        <p:nvGrpSpPr>
          <p:cNvPr id="98" name="McKSticker" hidden="1"/>
          <p:cNvGrpSpPr/>
          <p:nvPr/>
        </p:nvGrpSpPr>
        <p:grpSpPr bwMode="auto">
          <a:xfrm>
            <a:off x="9527810" y="252270"/>
            <a:ext cx="1066894" cy="212366"/>
            <a:chOff x="7837585" y="285750"/>
            <a:chExt cx="903190" cy="239661"/>
          </a:xfrm>
        </p:grpSpPr>
        <p:sp>
          <p:nvSpPr>
            <p:cNvPr id="99" name="StickerRectangle"/>
            <p:cNvSpPr>
              <a:spLocks noChangeArrowheads="1"/>
            </p:cNvSpPr>
            <p:nvPr/>
          </p:nvSpPr>
          <p:spPr bwMode="auto">
            <a:xfrm>
              <a:off x="7837585" y="285750"/>
              <a:ext cx="903190" cy="23966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eaLnBrk="1" hangingPunct="1">
                <a:buClr>
                  <a:srgbClr val="7A6E67"/>
                </a:buClr>
              </a:pPr>
              <a:r>
                <a:rPr lang="en-GB" sz="1200" dirty="0" smtClean="0">
                  <a:solidFill>
                    <a:srgbClr val="808080"/>
                  </a:solidFill>
                  <a:latin typeface="Arial"/>
                </a:rPr>
                <a:t>PRELIMINARY</a:t>
              </a:r>
              <a:endParaRPr lang="en-GB" sz="1200" dirty="0">
                <a:solidFill>
                  <a:srgbClr val="808080"/>
                </a:solidFill>
                <a:latin typeface="Arial"/>
              </a:endParaRPr>
            </a:p>
          </p:txBody>
        </p:sp>
        <p:cxnSp>
          <p:nvCxnSpPr>
            <p:cNvPr id="100" name="AutoShape 31"/>
            <p:cNvCxnSpPr>
              <a:cxnSpLocks noChangeShapeType="1"/>
              <a:stCxn id="99" idx="2"/>
              <a:endCxn id="99" idx="4"/>
            </p:cNvCxnSpPr>
            <p:nvPr/>
          </p:nvCxnSpPr>
          <p:spPr bwMode="auto">
            <a:xfrm>
              <a:off x="7837585" y="285750"/>
              <a:ext cx="0" cy="23966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1" name="AutoShape 32"/>
            <p:cNvCxnSpPr>
              <a:cxnSpLocks noChangeShapeType="1"/>
              <a:stCxn id="99" idx="4"/>
              <a:endCxn id="99" idx="6"/>
            </p:cNvCxnSpPr>
            <p:nvPr/>
          </p:nvCxnSpPr>
          <p:spPr bwMode="auto">
            <a:xfrm>
              <a:off x="7837585" y="525411"/>
              <a:ext cx="90319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2" name="LegendMoons" hidden="1"/>
          <p:cNvGrpSpPr/>
          <p:nvPr/>
        </p:nvGrpSpPr>
        <p:grpSpPr bwMode="auto">
          <a:xfrm>
            <a:off x="9613751" y="252271"/>
            <a:ext cx="888552" cy="1167953"/>
            <a:chOff x="7769225" y="2105025"/>
            <a:chExt cx="752214" cy="1318066"/>
          </a:xfrm>
        </p:grpSpPr>
        <p:grpSp>
          <p:nvGrpSpPr>
            <p:cNvPr id="103" name="MoonLegend1"/>
            <p:cNvGrpSpPr>
              <a:grpSpLocks noChangeAspect="1"/>
            </p:cNvGrpSpPr>
            <p:nvPr>
              <p:custDataLst>
                <p:tags r:id="rId12"/>
              </p:custDataLst>
            </p:nvPr>
          </p:nvGrpSpPr>
          <p:grpSpPr bwMode="auto">
            <a:xfrm>
              <a:off x="7769225" y="2105025"/>
              <a:ext cx="209550" cy="209551"/>
              <a:chOff x="4533" y="183"/>
              <a:chExt cx="144" cy="144"/>
            </a:xfrm>
          </p:grpSpPr>
          <p:sp>
            <p:nvSpPr>
              <p:cNvPr id="121" name="Oval 38"/>
              <p:cNvSpPr>
                <a:spLocks noChangeAspect="1" noChangeArrowheads="1"/>
              </p:cNvSpPr>
              <p:nvPr>
                <p:custDataLst>
                  <p:tags r:id="rId25"/>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22"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4" name="MoonLegend2"/>
            <p:cNvGrpSpPr>
              <a:grpSpLocks noChangeAspect="1"/>
            </p:cNvGrpSpPr>
            <p:nvPr>
              <p:custDataLst>
                <p:tags r:id="rId13"/>
              </p:custDataLst>
            </p:nvPr>
          </p:nvGrpSpPr>
          <p:grpSpPr bwMode="auto">
            <a:xfrm>
              <a:off x="7769225" y="2379266"/>
              <a:ext cx="209550" cy="209551"/>
              <a:chOff x="1694" y="2044"/>
              <a:chExt cx="160" cy="160"/>
            </a:xfrm>
          </p:grpSpPr>
          <p:sp>
            <p:nvSpPr>
              <p:cNvPr id="119" name="Oval 41"/>
              <p:cNvSpPr>
                <a:spLocks noChangeAspect="1" noChangeArrowheads="1"/>
              </p:cNvSpPr>
              <p:nvPr>
                <p:custDataLst>
                  <p:tags r:id="rId23"/>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20" name="Arc 42"/>
              <p:cNvSpPr>
                <a:spLocks noChangeAspect="1"/>
              </p:cNvSpPr>
              <p:nvPr>
                <p:custDataLst>
                  <p:tags r:id="rId24"/>
                </p:custDataLst>
              </p:nvPr>
            </p:nvSpPr>
            <p:spPr bwMode="auto">
              <a:xfrm>
                <a:off x="1694" y="2044"/>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5" name="MoonLegend4"/>
            <p:cNvGrpSpPr>
              <a:grpSpLocks noChangeAspect="1"/>
            </p:cNvGrpSpPr>
            <p:nvPr>
              <p:custDataLst>
                <p:tags r:id="rId14"/>
              </p:custDataLst>
            </p:nvPr>
          </p:nvGrpSpPr>
          <p:grpSpPr bwMode="auto">
            <a:xfrm>
              <a:off x="7769225" y="2927748"/>
              <a:ext cx="209550" cy="209551"/>
              <a:chOff x="4495" y="1198"/>
              <a:chExt cx="160" cy="160"/>
            </a:xfrm>
          </p:grpSpPr>
          <p:sp>
            <p:nvSpPr>
              <p:cNvPr id="117"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8"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nvGrpSpPr>
            <p:cNvPr id="106" name="MoonLegend5"/>
            <p:cNvGrpSpPr>
              <a:grpSpLocks noChangeAspect="1"/>
            </p:cNvGrpSpPr>
            <p:nvPr>
              <p:custDataLst>
                <p:tags r:id="rId15"/>
              </p:custDataLst>
            </p:nvPr>
          </p:nvGrpSpPr>
          <p:grpSpPr bwMode="auto">
            <a:xfrm>
              <a:off x="7769225" y="3201990"/>
              <a:ext cx="209550" cy="209551"/>
              <a:chOff x="4495" y="1440"/>
              <a:chExt cx="160" cy="160"/>
            </a:xfrm>
          </p:grpSpPr>
          <p:sp>
            <p:nvSpPr>
              <p:cNvPr id="115" name="Oval 50"/>
              <p:cNvSpPr>
                <a:spLocks noChangeAspect="1" noChangeArrowheads="1"/>
              </p:cNvSpPr>
              <p:nvPr>
                <p:custDataLst>
                  <p:tags r:id="rId19"/>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6"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sp>
          <p:nvSpPr>
            <p:cNvPr id="107" name="Legend1"/>
            <p:cNvSpPr>
              <a:spLocks noChangeArrowheads="1"/>
            </p:cNvSpPr>
            <p:nvPr/>
          </p:nvSpPr>
          <p:spPr bwMode="auto">
            <a:xfrm>
              <a:off x="8089900" y="2117725"/>
              <a:ext cx="431539"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08" name="Legend2"/>
            <p:cNvSpPr>
              <a:spLocks noChangeArrowheads="1"/>
            </p:cNvSpPr>
            <p:nvPr/>
          </p:nvSpPr>
          <p:spPr bwMode="auto">
            <a:xfrm>
              <a:off x="8089900" y="2392363"/>
              <a:ext cx="431539"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09" name="Legend3"/>
            <p:cNvSpPr>
              <a:spLocks noChangeArrowheads="1"/>
            </p:cNvSpPr>
            <p:nvPr/>
          </p:nvSpPr>
          <p:spPr bwMode="auto">
            <a:xfrm>
              <a:off x="8089900" y="2667002"/>
              <a:ext cx="431539"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10" name="Legend4"/>
            <p:cNvSpPr>
              <a:spLocks noChangeArrowheads="1"/>
            </p:cNvSpPr>
            <p:nvPr/>
          </p:nvSpPr>
          <p:spPr bwMode="auto">
            <a:xfrm>
              <a:off x="8089900" y="2938465"/>
              <a:ext cx="431539"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sp>
          <p:nvSpPr>
            <p:cNvPr id="111" name="Legend5"/>
            <p:cNvSpPr>
              <a:spLocks noChangeArrowheads="1"/>
            </p:cNvSpPr>
            <p:nvPr/>
          </p:nvSpPr>
          <p:spPr bwMode="auto">
            <a:xfrm>
              <a:off x="8089900" y="3214690"/>
              <a:ext cx="431539" cy="208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eaLnBrk="1" hangingPunct="1">
                <a:buClr>
                  <a:srgbClr val="7A6E67"/>
                </a:buClr>
              </a:pPr>
              <a:r>
                <a:rPr lang="en-GB" sz="1200" dirty="0" smtClean="0">
                  <a:solidFill>
                    <a:srgbClr val="7A6E67"/>
                  </a:solidFill>
                  <a:latin typeface="Arial"/>
                </a:rPr>
                <a:t>Legend</a:t>
              </a:r>
              <a:endParaRPr lang="en-GB" sz="1200" dirty="0">
                <a:solidFill>
                  <a:srgbClr val="7A6E67"/>
                </a:solidFill>
                <a:latin typeface="Arial"/>
              </a:endParaRPr>
            </a:p>
          </p:txBody>
        </p:sp>
        <p:grpSp>
          <p:nvGrpSpPr>
            <p:cNvPr id="112" name="MoonLegend3"/>
            <p:cNvGrpSpPr>
              <a:grpSpLocks noChangeAspect="1"/>
            </p:cNvGrpSpPr>
            <p:nvPr>
              <p:custDataLst>
                <p:tags r:id="rId16"/>
              </p:custDataLst>
            </p:nvPr>
          </p:nvGrpSpPr>
          <p:grpSpPr bwMode="auto">
            <a:xfrm>
              <a:off x="7769225" y="2653507"/>
              <a:ext cx="209550" cy="209551"/>
              <a:chOff x="4495" y="1198"/>
              <a:chExt cx="160" cy="160"/>
            </a:xfrm>
          </p:grpSpPr>
          <p:sp>
            <p:nvSpPr>
              <p:cNvPr id="113" name="Oval 47"/>
              <p:cNvSpPr>
                <a:spLocks noChangeAspect="1" noChangeArrowheads="1"/>
              </p:cNvSpPr>
              <p:nvPr>
                <p:custDataLst>
                  <p:tags r:id="rId17"/>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114"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grpSp>
      <p:pic>
        <p:nvPicPr>
          <p:cNvPr id="64" name="Picture 2" descr="C:\Users\ndenic\Documents\Design Projects\Logos\SWIFT_Logo Warm Grey.emf"/>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206654" y="5684943"/>
            <a:ext cx="340238" cy="255228"/>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McK Moon" hidden="1"/>
          <p:cNvGrpSpPr>
            <a:grpSpLocks noChangeAspect="1"/>
          </p:cNvGrpSpPr>
          <p:nvPr>
            <p:custDataLst>
              <p:tags r:id="rId9"/>
            </p:custDataLst>
          </p:nvPr>
        </p:nvGrpSpPr>
        <p:grpSpPr bwMode="auto">
          <a:xfrm>
            <a:off x="8675102" y="247393"/>
            <a:ext cx="300038" cy="225072"/>
            <a:chOff x="1600" y="1600"/>
            <a:chExt cx="160" cy="160"/>
          </a:xfrm>
        </p:grpSpPr>
        <p:sp>
          <p:nvSpPr>
            <p:cNvPr id="66"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sp>
          <p:nvSpPr>
            <p:cNvPr id="67" name="Arc 91"/>
            <p:cNvSpPr>
              <a:spLocks noChangeAspect="1"/>
            </p:cNvSpPr>
            <p:nvPr>
              <p:custDataLst>
                <p:tags r:id="rId11"/>
              </p:custDataLst>
            </p:nvPr>
          </p:nvSpPr>
          <p:spPr bwMode="auto">
            <a:xfrm>
              <a:off x="1600" y="1600"/>
              <a:ext cx="160" cy="160"/>
            </a:xfrm>
            <a:prstGeom prst="arc">
              <a:avLst/>
            </a:prstGeom>
            <a:solidFill>
              <a:schemeClr val="accent2"/>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1" hangingPunct="1"/>
              <a:endParaRPr lang="en-GB" sz="1600" dirty="0">
                <a:solidFill>
                  <a:srgbClr val="7A6E67"/>
                </a:solidFill>
              </a:endParaRPr>
            </a:p>
          </p:txBody>
        </p:sp>
      </p:grpSp>
    </p:spTree>
    <p:extLst>
      <p:ext uri="{BB962C8B-B14F-4D97-AF65-F5344CB8AC3E}">
        <p14:creationId xmlns:p14="http://schemas.microsoft.com/office/powerpoint/2010/main" val="1014082012"/>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Lst>
  <p:timing>
    <p:tnLst>
      <p:par>
        <p:cTn id="1" dur="indefinite" restart="never" nodeType="tmRoot"/>
      </p:par>
    </p:tnLst>
  </p:timing>
  <p:hf sldNum="0" hd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 change of paradigm: how does Distributed Ledger fit with existing standards?</a:t>
            </a:r>
            <a:endParaRPr lang="en-GB" dirty="0"/>
          </a:p>
        </p:txBody>
      </p:sp>
      <p:sp>
        <p:nvSpPr>
          <p:cNvPr id="3" name="Text Placeholder 2"/>
          <p:cNvSpPr>
            <a:spLocks noGrp="1"/>
          </p:cNvSpPr>
          <p:nvPr>
            <p:ph type="body" idx="11"/>
          </p:nvPr>
        </p:nvSpPr>
        <p:spPr/>
        <p:txBody>
          <a:bodyPr/>
          <a:lstStyle/>
          <a:p>
            <a:pPr>
              <a:lnSpc>
                <a:spcPct val="150000"/>
              </a:lnSpc>
            </a:pPr>
            <a:r>
              <a:rPr lang="en-GB" sz="1400" b="0" dirty="0" smtClean="0"/>
              <a:t>Distributed </a:t>
            </a:r>
            <a:r>
              <a:rPr lang="en-GB" sz="1400" b="0" dirty="0"/>
              <a:t>Ledger </a:t>
            </a:r>
            <a:r>
              <a:rPr lang="en-GB" sz="1400" b="0" dirty="0" smtClean="0"/>
              <a:t>technology </a:t>
            </a:r>
            <a:r>
              <a:rPr lang="en-GB" sz="1400" b="0" dirty="0"/>
              <a:t>offers a single, consistent and shared view of the state of a business process. </a:t>
            </a:r>
            <a:r>
              <a:rPr lang="en-GB" sz="1400" b="0" dirty="0" smtClean="0"/>
              <a:t>It eliminates </a:t>
            </a:r>
            <a:r>
              <a:rPr lang="en-GB" sz="1400" b="0" dirty="0"/>
              <a:t>the need to pass information between actors, and for individual actors to maintain independent copies of the data in their own systems. </a:t>
            </a:r>
            <a:r>
              <a:rPr lang="en-GB" sz="1400" b="0" dirty="0" smtClean="0"/>
              <a:t>DL </a:t>
            </a:r>
            <a:r>
              <a:rPr lang="en-GB" sz="1400" b="0" dirty="0"/>
              <a:t>can therefore eliminate much of the point-to-point messaging and other processing required to keep data synchronized and reconciled. Smart Contracts can provide further efficiencies by moving business logic that </a:t>
            </a:r>
            <a:r>
              <a:rPr lang="en-GB" sz="1400" b="0" dirty="0" smtClean="0"/>
              <a:t>requires </a:t>
            </a:r>
            <a:r>
              <a:rPr lang="en-GB" sz="1400" b="0" dirty="0"/>
              <a:t>complex interactions amongst many actors to self-executing processes deployed on the </a:t>
            </a:r>
            <a:r>
              <a:rPr lang="en-GB" sz="1400" b="0" dirty="0" smtClean="0"/>
              <a:t>ledger. </a:t>
            </a:r>
          </a:p>
          <a:p>
            <a:pPr>
              <a:lnSpc>
                <a:spcPct val="150000"/>
              </a:lnSpc>
            </a:pPr>
            <a:endParaRPr lang="en-GB" sz="1400" b="0" dirty="0"/>
          </a:p>
          <a:p>
            <a:pPr>
              <a:lnSpc>
                <a:spcPct val="150000"/>
              </a:lnSpc>
            </a:pPr>
            <a:r>
              <a:rPr lang="en-GB" sz="1400" b="0" dirty="0" smtClean="0"/>
              <a:t>So we have to think differently about formalizing and standardizing Distributed Ledger and Smart Contract implementations…</a:t>
            </a:r>
          </a:p>
          <a:p>
            <a:endParaRPr lang="en-GB" dirty="0"/>
          </a:p>
          <a:p>
            <a:endParaRPr lang="en-GB" dirty="0" smtClean="0"/>
          </a:p>
          <a:p>
            <a:endParaRPr lang="en-GB" dirty="0"/>
          </a:p>
          <a:p>
            <a:endParaRPr lang="en-GB" dirty="0" smtClean="0"/>
          </a:p>
          <a:p>
            <a:endParaRPr lang="en-GB" dirty="0"/>
          </a:p>
          <a:p>
            <a:endParaRPr lang="en-GB" dirty="0" smtClean="0"/>
          </a:p>
          <a:p>
            <a:endParaRPr lang="en-GB" dirty="0" smtClean="0"/>
          </a:p>
          <a:p>
            <a:endParaRPr lang="en-GB" dirty="0" smtClean="0"/>
          </a:p>
          <a:p>
            <a:endParaRPr lang="en-GB" dirty="0"/>
          </a:p>
          <a:p>
            <a:r>
              <a:rPr lang="en-GB" dirty="0" smtClean="0"/>
              <a:t> </a:t>
            </a:r>
            <a:endParaRPr lang="en-GB" dirty="0"/>
          </a:p>
          <a:p>
            <a:pPr>
              <a:lnSpc>
                <a:spcPct val="150000"/>
              </a:lnSpc>
            </a:pPr>
            <a:endParaRPr lang="en-GB" dirty="0"/>
          </a:p>
        </p:txBody>
      </p:sp>
      <p:sp>
        <p:nvSpPr>
          <p:cNvPr id="4" name="Footer Placeholder 3"/>
          <p:cNvSpPr>
            <a:spLocks noGrp="1"/>
          </p:cNvSpPr>
          <p:nvPr>
            <p:ph type="ftr" sz="quarter" idx="10"/>
          </p:nvPr>
        </p:nvSpPr>
        <p:spPr/>
        <p:txBody>
          <a:bodyPr/>
          <a:lstStyle/>
          <a:p>
            <a:endParaRPr lang="en-GB" dirty="0">
              <a:solidFill>
                <a:srgbClr val="EEECE1">
                  <a:lumMod val="25000"/>
                </a:srgbClr>
              </a:solidFill>
            </a:endParaRPr>
          </a:p>
        </p:txBody>
      </p:sp>
    </p:spTree>
    <p:extLst>
      <p:ext uri="{BB962C8B-B14F-4D97-AF65-F5344CB8AC3E}">
        <p14:creationId xmlns:p14="http://schemas.microsoft.com/office/powerpoint/2010/main" val="25928284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LT is not messaging... </a:t>
            </a:r>
            <a:br>
              <a:rPr lang="en-GB" dirty="0" smtClean="0"/>
            </a:br>
            <a:r>
              <a:rPr lang="en-GB" dirty="0"/>
              <a:t/>
            </a:r>
            <a:br>
              <a:rPr lang="en-GB" dirty="0"/>
            </a:br>
            <a:r>
              <a:rPr lang="en-GB" dirty="0" smtClean="0"/>
              <a:t>…but we can benefit from shared business content</a:t>
            </a:r>
            <a:br>
              <a:rPr lang="en-GB" dirty="0" smtClean="0"/>
            </a:br>
            <a:r>
              <a:rPr lang="en-GB" dirty="0"/>
              <a:t/>
            </a:r>
            <a:br>
              <a:rPr lang="en-GB" dirty="0"/>
            </a:br>
            <a:endParaRPr lang="en-GB" dirty="0"/>
          </a:p>
        </p:txBody>
      </p:sp>
      <p:sp>
        <p:nvSpPr>
          <p:cNvPr id="3" name="Text Placeholder 2"/>
          <p:cNvSpPr>
            <a:spLocks noGrp="1"/>
          </p:cNvSpPr>
          <p:nvPr>
            <p:ph type="body" idx="11"/>
          </p:nvPr>
        </p:nvSpPr>
        <p:spPr>
          <a:xfrm>
            <a:off x="2448346" y="518196"/>
            <a:ext cx="7776865" cy="4680520"/>
          </a:xfrm>
        </p:spPr>
        <p:txBody>
          <a:bodyPr/>
          <a:lstStyle/>
          <a:p>
            <a:r>
              <a:rPr lang="en-GB" dirty="0" smtClean="0"/>
              <a:t>ISO 20022 as a</a:t>
            </a:r>
          </a:p>
          <a:p>
            <a:r>
              <a:rPr lang="en-GB" dirty="0" smtClean="0"/>
              <a:t>messaging standard</a:t>
            </a:r>
          </a:p>
          <a:p>
            <a:endParaRPr lang="en-GB" dirty="0"/>
          </a:p>
          <a:p>
            <a:r>
              <a:rPr lang="en-GB" i="1" dirty="0" smtClean="0"/>
              <a:t>The logical message </a:t>
            </a:r>
          </a:p>
          <a:p>
            <a:r>
              <a:rPr lang="en-GB" i="1" dirty="0" smtClean="0"/>
              <a:t>layer references the</a:t>
            </a:r>
          </a:p>
          <a:p>
            <a:r>
              <a:rPr lang="en-GB" i="1" dirty="0" smtClean="0"/>
              <a:t>business layer for </a:t>
            </a:r>
          </a:p>
          <a:p>
            <a:r>
              <a:rPr lang="en-GB" i="1" dirty="0"/>
              <a:t>s</a:t>
            </a:r>
            <a:r>
              <a:rPr lang="en-GB" i="1" dirty="0" smtClean="0"/>
              <a:t>emantic definitions</a:t>
            </a:r>
          </a:p>
          <a:p>
            <a:endParaRPr lang="en-GB" dirty="0"/>
          </a:p>
          <a:p>
            <a:endParaRPr lang="en-GB" dirty="0" smtClean="0"/>
          </a:p>
          <a:p>
            <a:endParaRPr lang="en-GB" dirty="0"/>
          </a:p>
          <a:p>
            <a:endParaRPr lang="en-GB" dirty="0" smtClean="0"/>
          </a:p>
          <a:p>
            <a:endParaRPr lang="en-GB" dirty="0"/>
          </a:p>
          <a:p>
            <a:r>
              <a:rPr lang="en-GB" i="1" dirty="0" smtClean="0"/>
              <a:t>Imagine</a:t>
            </a:r>
            <a:r>
              <a:rPr lang="en-GB" dirty="0" smtClean="0"/>
              <a:t>: </a:t>
            </a:r>
          </a:p>
          <a:p>
            <a:r>
              <a:rPr lang="en-GB" dirty="0" smtClean="0"/>
              <a:t>ISO 20022 for DL</a:t>
            </a:r>
          </a:p>
          <a:p>
            <a:endParaRPr lang="en-GB" dirty="0"/>
          </a:p>
          <a:p>
            <a:r>
              <a:rPr lang="en-GB" i="1" dirty="0" smtClean="0"/>
              <a:t>The logical DL</a:t>
            </a:r>
          </a:p>
          <a:p>
            <a:r>
              <a:rPr lang="en-GB" i="1" dirty="0" smtClean="0"/>
              <a:t>implementation re-uses</a:t>
            </a:r>
          </a:p>
          <a:p>
            <a:r>
              <a:rPr lang="en-GB" i="1" dirty="0" smtClean="0"/>
              <a:t>business concepts to</a:t>
            </a:r>
          </a:p>
          <a:p>
            <a:r>
              <a:rPr lang="en-GB" i="1" dirty="0" smtClean="0"/>
              <a:t>ensure interoperability</a:t>
            </a:r>
          </a:p>
          <a:p>
            <a:r>
              <a:rPr lang="en-GB" i="1" dirty="0" smtClean="0"/>
              <a:t>with messaging</a:t>
            </a:r>
          </a:p>
          <a:p>
            <a:endParaRPr lang="en-GB" dirty="0" smtClean="0"/>
          </a:p>
        </p:txBody>
      </p:sp>
      <p:sp>
        <p:nvSpPr>
          <p:cNvPr id="4" name="Footer Placeholder 3"/>
          <p:cNvSpPr>
            <a:spLocks noGrp="1"/>
          </p:cNvSpPr>
          <p:nvPr>
            <p:ph type="ftr" sz="quarter" idx="10"/>
          </p:nvPr>
        </p:nvSpPr>
        <p:spPr/>
        <p:txBody>
          <a:bodyPr/>
          <a:lstStyle/>
          <a:p>
            <a:endParaRPr lang="en-GB" dirty="0">
              <a:solidFill>
                <a:srgbClr val="EEECE1">
                  <a:lumMod val="25000"/>
                </a:srgbClr>
              </a:solidFill>
            </a:endParaRPr>
          </a:p>
        </p:txBody>
      </p:sp>
      <p:graphicFrame>
        <p:nvGraphicFramePr>
          <p:cNvPr id="7" name="Diagram 6"/>
          <p:cNvGraphicFramePr/>
          <p:nvPr>
            <p:extLst>
              <p:ext uri="{D42A27DB-BD31-4B8C-83A1-F6EECF244321}">
                <p14:modId xmlns:p14="http://schemas.microsoft.com/office/powerpoint/2010/main" val="1951494599"/>
              </p:ext>
            </p:extLst>
          </p:nvPr>
        </p:nvGraphicFramePr>
        <p:xfrm>
          <a:off x="4752603" y="302171"/>
          <a:ext cx="3672403" cy="2448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p:cNvGraphicFramePr/>
          <p:nvPr>
            <p:extLst>
              <p:ext uri="{D42A27DB-BD31-4B8C-83A1-F6EECF244321}">
                <p14:modId xmlns:p14="http://schemas.microsoft.com/office/powerpoint/2010/main" val="2104742308"/>
              </p:ext>
            </p:extLst>
          </p:nvPr>
        </p:nvGraphicFramePr>
        <p:xfrm>
          <a:off x="4752604" y="3182491"/>
          <a:ext cx="3672402" cy="24482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ight Brace 10"/>
          <p:cNvSpPr/>
          <p:nvPr/>
        </p:nvSpPr>
        <p:spPr bwMode="auto">
          <a:xfrm>
            <a:off x="8425011" y="878235"/>
            <a:ext cx="936105" cy="2808312"/>
          </a:xfrm>
          <a:prstGeom prst="rightBrace">
            <a:avLst>
              <a:gd name="adj1" fmla="val 8333"/>
              <a:gd name="adj2" fmla="val 50945"/>
            </a:avLst>
          </a:prstGeom>
          <a:noFill/>
          <a:ln w="9525" cap="flat" cmpd="sng" algn="ctr">
            <a:solidFill>
              <a:srgbClr val="00B0F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smtClean="0">
              <a:ln>
                <a:noFill/>
              </a:ln>
              <a:solidFill>
                <a:schemeClr val="tx1"/>
              </a:solidFill>
              <a:effectLst/>
              <a:latin typeface="Arial" charset="0"/>
            </a:endParaRPr>
          </a:p>
        </p:txBody>
      </p:sp>
      <p:sp>
        <p:nvSpPr>
          <p:cNvPr id="12" name="TextBox 11"/>
          <p:cNvSpPr txBox="1"/>
          <p:nvPr/>
        </p:nvSpPr>
        <p:spPr>
          <a:xfrm>
            <a:off x="9433124" y="1939771"/>
            <a:ext cx="990977" cy="738664"/>
          </a:xfrm>
          <a:prstGeom prst="rect">
            <a:avLst/>
          </a:prstGeom>
          <a:solidFill>
            <a:srgbClr val="00B0F0"/>
          </a:solidFill>
        </p:spPr>
        <p:txBody>
          <a:bodyPr wrap="none" rtlCol="0">
            <a:spAutoFit/>
          </a:bodyPr>
          <a:lstStyle/>
          <a:p>
            <a:r>
              <a:rPr lang="en-GB" sz="1400" dirty="0" smtClean="0">
                <a:solidFill>
                  <a:schemeClr val="bg1"/>
                </a:solidFill>
              </a:rPr>
              <a:t>Shared </a:t>
            </a:r>
          </a:p>
          <a:p>
            <a:r>
              <a:rPr lang="en-GB" sz="1400" dirty="0">
                <a:solidFill>
                  <a:schemeClr val="bg1"/>
                </a:solidFill>
              </a:rPr>
              <a:t>b</a:t>
            </a:r>
            <a:r>
              <a:rPr lang="en-GB" sz="1400" dirty="0" smtClean="0">
                <a:solidFill>
                  <a:schemeClr val="bg1"/>
                </a:solidFill>
              </a:rPr>
              <a:t>usiness</a:t>
            </a:r>
          </a:p>
          <a:p>
            <a:r>
              <a:rPr lang="en-GB" sz="1400" dirty="0" smtClean="0">
                <a:solidFill>
                  <a:schemeClr val="bg1"/>
                </a:solidFill>
              </a:rPr>
              <a:t>definitions</a:t>
            </a:r>
            <a:endParaRPr lang="en-GB" sz="1400" dirty="0">
              <a:solidFill>
                <a:schemeClr val="bg1"/>
              </a:solidFill>
            </a:endParaRPr>
          </a:p>
        </p:txBody>
      </p:sp>
    </p:spTree>
    <p:extLst>
      <p:ext uri="{BB962C8B-B14F-4D97-AF65-F5344CB8AC3E}">
        <p14:creationId xmlns:p14="http://schemas.microsoft.com/office/powerpoint/2010/main" val="239353391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 descr="image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8527" y="3110483"/>
            <a:ext cx="4220970" cy="26532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4091" y="162000"/>
            <a:ext cx="2088231" cy="4680520"/>
          </a:xfrm>
        </p:spPr>
        <p:txBody>
          <a:bodyPr/>
          <a:lstStyle/>
          <a:p>
            <a:r>
              <a:rPr lang="en-GB" dirty="0" smtClean="0"/>
              <a:t>Re-use of business model content</a:t>
            </a:r>
            <a:br>
              <a:rPr lang="en-GB" dirty="0" smtClean="0"/>
            </a:br>
            <a:r>
              <a:rPr lang="en-GB" dirty="0" smtClean="0"/>
              <a:t/>
            </a:r>
            <a:br>
              <a:rPr lang="en-GB" dirty="0" smtClean="0"/>
            </a:br>
            <a:r>
              <a:rPr lang="en-GB" i="1" dirty="0" smtClean="0"/>
              <a:t>Bonds</a:t>
            </a:r>
            <a:endParaRPr lang="en-GB" i="1" dirty="0"/>
          </a:p>
        </p:txBody>
      </p:sp>
      <p:sp>
        <p:nvSpPr>
          <p:cNvPr id="4" name="Footer Placeholder 3"/>
          <p:cNvSpPr>
            <a:spLocks noGrp="1"/>
          </p:cNvSpPr>
          <p:nvPr>
            <p:ph type="ftr" sz="quarter" idx="10"/>
          </p:nvPr>
        </p:nvSpPr>
        <p:spPr/>
        <p:txBody>
          <a:bodyPr/>
          <a:lstStyle/>
          <a:p>
            <a:endParaRPr lang="en-GB" dirty="0">
              <a:solidFill>
                <a:srgbClr val="EEECE1">
                  <a:lumMod val="25000"/>
                </a:srgbClr>
              </a:solidFill>
            </a:endParaRPr>
          </a:p>
        </p:txBody>
      </p:sp>
      <p:pic>
        <p:nvPicPr>
          <p:cNvPr id="819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12243" y="1038994"/>
            <a:ext cx="7143750" cy="1495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a:stCxn id="10" idx="2"/>
            <a:endCxn id="13" idx="2"/>
          </p:cNvCxnSpPr>
          <p:nvPr/>
        </p:nvCxnSpPr>
        <p:spPr bwMode="auto">
          <a:xfrm flipV="1">
            <a:off x="1224211" y="1994359"/>
            <a:ext cx="216024" cy="1714981"/>
          </a:xfrm>
          <a:prstGeom prst="line">
            <a:avLst/>
          </a:prstGeom>
          <a:solidFill>
            <a:schemeClr val="accent1"/>
          </a:solidFill>
          <a:ln w="3175" cap="flat" cmpd="dbl" algn="ctr">
            <a:solidFill>
              <a:schemeClr val="tx1"/>
            </a:solidFill>
            <a:prstDash val="solid"/>
            <a:round/>
            <a:headEnd type="none" w="med" len="med"/>
            <a:tailEnd type="none" w="med" len="med"/>
          </a:ln>
          <a:effectLst/>
        </p:spPr>
      </p:cxnSp>
      <p:cxnSp>
        <p:nvCxnSpPr>
          <p:cNvPr id="12" name="Straight Connector 11"/>
          <p:cNvCxnSpPr>
            <a:stCxn id="10" idx="6"/>
            <a:endCxn id="13" idx="5"/>
          </p:cNvCxnSpPr>
          <p:nvPr/>
        </p:nvCxnSpPr>
        <p:spPr bwMode="auto">
          <a:xfrm flipV="1">
            <a:off x="4744219" y="2834495"/>
            <a:ext cx="3211059" cy="874845"/>
          </a:xfrm>
          <a:prstGeom prst="line">
            <a:avLst/>
          </a:prstGeom>
          <a:solidFill>
            <a:schemeClr val="accent1"/>
          </a:solidFill>
          <a:ln w="3175" cap="flat" cmpd="dbl" algn="ctr">
            <a:solidFill>
              <a:schemeClr val="tx1"/>
            </a:solidFill>
            <a:prstDash val="solid"/>
            <a:round/>
            <a:headEnd type="none" w="med" len="med"/>
            <a:tailEnd type="none" w="med" len="med"/>
          </a:ln>
          <a:effectLst/>
        </p:spPr>
      </p:cxnSp>
      <p:sp>
        <p:nvSpPr>
          <p:cNvPr id="13" name="Oval 12"/>
          <p:cNvSpPr/>
          <p:nvPr/>
        </p:nvSpPr>
        <p:spPr bwMode="auto">
          <a:xfrm>
            <a:off x="1440235" y="806227"/>
            <a:ext cx="7632848" cy="2376264"/>
          </a:xfrm>
          <a:prstGeom prst="ellipse">
            <a:avLst/>
          </a:prstGeom>
          <a:solidFill>
            <a:schemeClr val="accent1">
              <a:alpha val="1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Arial" charset="0"/>
            </a:endParaRPr>
          </a:p>
        </p:txBody>
      </p:sp>
      <p:sp>
        <p:nvSpPr>
          <p:cNvPr id="17" name="TextBox 16"/>
          <p:cNvSpPr txBox="1"/>
          <p:nvPr/>
        </p:nvSpPr>
        <p:spPr>
          <a:xfrm>
            <a:off x="6552803" y="3657218"/>
            <a:ext cx="4248472" cy="2477601"/>
          </a:xfrm>
          <a:prstGeom prst="rect">
            <a:avLst/>
          </a:prstGeom>
          <a:solidFill>
            <a:srgbClr val="00B0F0">
              <a:alpha val="10000"/>
            </a:srgbClr>
          </a:solidFill>
        </p:spPr>
        <p:txBody>
          <a:bodyPr wrap="square" rtlCol="0">
            <a:spAutoFit/>
          </a:bodyPr>
          <a:lstStyle/>
          <a:p>
            <a:r>
              <a:rPr lang="en-GB" sz="1200" b="1" dirty="0" smtClean="0"/>
              <a:t>Takeaways:</a:t>
            </a:r>
            <a:r>
              <a:rPr lang="en-GB" sz="1100" b="1" dirty="0" smtClean="0"/>
              <a:t/>
            </a:r>
            <a:br>
              <a:rPr lang="en-GB" sz="1100" b="1" dirty="0" smtClean="0"/>
            </a:br>
            <a:endParaRPr lang="en-GB" sz="1200" b="1" dirty="0" smtClean="0"/>
          </a:p>
          <a:p>
            <a:pPr marL="457200" indent="-457200">
              <a:buFont typeface="Arial" panose="020B0604020202020204" pitchFamily="34" charset="0"/>
              <a:buChar char="•"/>
            </a:pPr>
            <a:r>
              <a:rPr lang="en-GB" sz="1200" dirty="0" smtClean="0"/>
              <a:t>ISO 20022 includes complete formal definitions</a:t>
            </a:r>
            <a:r>
              <a:rPr lang="en-GB" sz="1200" dirty="0"/>
              <a:t> </a:t>
            </a:r>
            <a:r>
              <a:rPr lang="en-GB" sz="1200" dirty="0" smtClean="0"/>
              <a:t>for </a:t>
            </a:r>
            <a:br>
              <a:rPr lang="en-GB" sz="1200" dirty="0" smtClean="0"/>
            </a:br>
            <a:r>
              <a:rPr lang="en-GB" sz="1200" dirty="0" smtClean="0"/>
              <a:t>a wide range of financial instruments;</a:t>
            </a:r>
          </a:p>
          <a:p>
            <a:pPr marL="457200" indent="-457200">
              <a:buFont typeface="Arial" panose="020B0604020202020204" pitchFamily="34" charset="0"/>
              <a:buChar char="•"/>
            </a:pPr>
            <a:r>
              <a:rPr lang="en-GB" sz="1200" dirty="0" smtClean="0"/>
              <a:t>Definitions are sourced from the industry </a:t>
            </a:r>
            <a:br>
              <a:rPr lang="en-GB" sz="1200" dirty="0" smtClean="0"/>
            </a:br>
            <a:r>
              <a:rPr lang="en-GB" sz="1200" dirty="0" smtClean="0"/>
              <a:t>and formalized and ratified according to an open process;</a:t>
            </a:r>
          </a:p>
          <a:p>
            <a:pPr marL="457200" indent="-457200">
              <a:buFont typeface="Arial" panose="020B0604020202020204" pitchFamily="34" charset="0"/>
              <a:buChar char="•"/>
            </a:pPr>
            <a:r>
              <a:rPr lang="en-GB" sz="1200" dirty="0" smtClean="0"/>
              <a:t>Content is maintained and published by SWIFT as ISO 20022 Registration Authority;</a:t>
            </a:r>
          </a:p>
          <a:p>
            <a:pPr marL="457200" indent="-457200">
              <a:buFont typeface="Arial" panose="020B0604020202020204" pitchFamily="34" charset="0"/>
              <a:buChar char="•"/>
            </a:pPr>
            <a:r>
              <a:rPr lang="en-GB" sz="1200" dirty="0" smtClean="0"/>
              <a:t>Re-use of ISO 20022 definitions leverages existing industry best-practice and will facilitate interoperability with legacy processes and systems.</a:t>
            </a:r>
          </a:p>
          <a:p>
            <a:pPr marL="457200" indent="-457200">
              <a:buFont typeface="Arial" panose="020B0604020202020204" pitchFamily="34" charset="0"/>
              <a:buChar char="•"/>
            </a:pPr>
            <a:endParaRPr lang="en-GB" sz="1200" dirty="0"/>
          </a:p>
        </p:txBody>
      </p:sp>
      <p:sp>
        <p:nvSpPr>
          <p:cNvPr id="10" name="Oval 9"/>
          <p:cNvSpPr/>
          <p:nvPr/>
        </p:nvSpPr>
        <p:spPr bwMode="auto">
          <a:xfrm>
            <a:off x="1224211" y="3470523"/>
            <a:ext cx="3520008" cy="477634"/>
          </a:xfrm>
          <a:prstGeom prst="ellipse">
            <a:avLst/>
          </a:prstGeom>
          <a:solidFill>
            <a:schemeClr val="accent1">
              <a:alpha val="1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smtClean="0">
              <a:ln>
                <a:noFill/>
              </a:ln>
              <a:solidFill>
                <a:schemeClr val="tx1"/>
              </a:solidFill>
              <a:effectLst/>
              <a:latin typeface="Arial" charset="0"/>
            </a:endParaRPr>
          </a:p>
        </p:txBody>
      </p:sp>
      <p:cxnSp>
        <p:nvCxnSpPr>
          <p:cNvPr id="8" name="Straight Connector 7"/>
          <p:cNvCxnSpPr/>
          <p:nvPr/>
        </p:nvCxnSpPr>
        <p:spPr bwMode="auto">
          <a:xfrm>
            <a:off x="13249547" y="3709340"/>
            <a:ext cx="914400" cy="914400"/>
          </a:xfrm>
          <a:prstGeom prst="line">
            <a:avLst/>
          </a:prstGeom>
          <a:solidFill>
            <a:schemeClr val="accent1"/>
          </a:solidFill>
          <a:ln w="9525" cap="flat" cmpd="sng" algn="ctr">
            <a:noFill/>
            <a:prstDash val="solid"/>
            <a:round/>
            <a:headEnd type="none" w="med" len="med"/>
            <a:tailEnd type="none" w="med" len="med"/>
          </a:ln>
          <a:effectLst/>
        </p:spPr>
      </p:cxnSp>
      <p:sp>
        <p:nvSpPr>
          <p:cNvPr id="14" name="TextBox 13"/>
          <p:cNvSpPr txBox="1"/>
          <p:nvPr/>
        </p:nvSpPr>
        <p:spPr>
          <a:xfrm>
            <a:off x="9001075" y="158155"/>
            <a:ext cx="1656184" cy="1323439"/>
          </a:xfrm>
          <a:prstGeom prst="rect">
            <a:avLst/>
          </a:prstGeom>
          <a:solidFill>
            <a:schemeClr val="accent1">
              <a:alpha val="10000"/>
            </a:schemeClr>
          </a:solidFill>
          <a:ln>
            <a:solidFill>
              <a:schemeClr val="accent1"/>
            </a:solidFill>
          </a:ln>
        </p:spPr>
        <p:txBody>
          <a:bodyPr wrap="square" rtlCol="0">
            <a:spAutoFit/>
          </a:bodyPr>
          <a:lstStyle/>
          <a:p>
            <a:r>
              <a:rPr lang="en-US" sz="1000" b="1" dirty="0" smtClean="0"/>
              <a:t>ISO 20022 Definition</a:t>
            </a:r>
          </a:p>
          <a:p>
            <a:endParaRPr lang="en-US" sz="1000" dirty="0"/>
          </a:p>
          <a:p>
            <a:r>
              <a:rPr lang="en-US" sz="1000" dirty="0" err="1" smtClean="0"/>
              <a:t>ConversionPeriod</a:t>
            </a:r>
            <a:endParaRPr lang="en-US" sz="1000" dirty="0" smtClean="0"/>
          </a:p>
          <a:p>
            <a:endParaRPr lang="en-US" sz="1000" dirty="0"/>
          </a:p>
          <a:p>
            <a:r>
              <a:rPr lang="en-US" sz="1000" i="1" dirty="0" smtClean="0"/>
              <a:t>Period </a:t>
            </a:r>
            <a:r>
              <a:rPr lang="en-US" sz="1000" i="1" dirty="0"/>
              <a:t>during which a convertible security may be converted according to the terms of the </a:t>
            </a:r>
            <a:r>
              <a:rPr lang="en-US" sz="1000" i="1" dirty="0" smtClean="0"/>
              <a:t>issue.</a:t>
            </a:r>
            <a:endParaRPr lang="en-GB" sz="1000" i="1" dirty="0"/>
          </a:p>
        </p:txBody>
      </p:sp>
      <p:cxnSp>
        <p:nvCxnSpPr>
          <p:cNvPr id="16" name="Straight Connector 15"/>
          <p:cNvCxnSpPr/>
          <p:nvPr/>
        </p:nvCxnSpPr>
        <p:spPr bwMode="auto">
          <a:xfrm flipV="1">
            <a:off x="8353003" y="1481594"/>
            <a:ext cx="648072" cy="188731"/>
          </a:xfrm>
          <a:prstGeom prst="line">
            <a:avLst/>
          </a:prstGeom>
          <a:solidFill>
            <a:schemeClr val="accent1"/>
          </a:solidFill>
          <a:ln w="6350" cap="flat" cmpd="sng" algn="ctr">
            <a:solidFill>
              <a:schemeClr val="tx1"/>
            </a:solidFill>
            <a:prstDash val="dash"/>
            <a:round/>
            <a:headEnd type="none" w="med" len="med"/>
            <a:tailEnd type="none" w="med" len="med"/>
          </a:ln>
          <a:effectLst/>
        </p:spPr>
      </p:cxnSp>
      <p:grpSp>
        <p:nvGrpSpPr>
          <p:cNvPr id="15" name="Group 14"/>
          <p:cNvGrpSpPr/>
          <p:nvPr/>
        </p:nvGrpSpPr>
        <p:grpSpPr>
          <a:xfrm>
            <a:off x="4039724" y="230163"/>
            <a:ext cx="2721902" cy="354240"/>
            <a:chOff x="194421" y="89742"/>
            <a:chExt cx="2721902" cy="354240"/>
          </a:xfrm>
        </p:grpSpPr>
        <p:sp>
          <p:nvSpPr>
            <p:cNvPr id="18" name="Rounded Rectangle 17"/>
            <p:cNvSpPr/>
            <p:nvPr/>
          </p:nvSpPr>
          <p:spPr>
            <a:xfrm>
              <a:off x="194421" y="89742"/>
              <a:ext cx="2721902" cy="354240"/>
            </a:xfrm>
            <a:prstGeom prst="roundRect">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Rounded Rectangle 4"/>
            <p:cNvSpPr/>
            <p:nvPr/>
          </p:nvSpPr>
          <p:spPr>
            <a:xfrm>
              <a:off x="211714" y="107035"/>
              <a:ext cx="2687316" cy="31965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2881" tIns="0" rIns="102881" bIns="0" numCol="1" spcCol="1270" anchor="ctr" anchorCtr="0">
              <a:noAutofit/>
            </a:bodyPr>
            <a:lstStyle/>
            <a:p>
              <a:pPr lvl="0" algn="l" defTabSz="533400">
                <a:lnSpc>
                  <a:spcPct val="90000"/>
                </a:lnSpc>
                <a:spcBef>
                  <a:spcPct val="0"/>
                </a:spcBef>
                <a:spcAft>
                  <a:spcPct val="35000"/>
                </a:spcAft>
              </a:pPr>
              <a:r>
                <a:rPr lang="en-US" sz="1200" kern="1200" dirty="0" smtClean="0"/>
                <a:t>Business / Conceptual</a:t>
              </a:r>
              <a:endParaRPr lang="en-GB" sz="1200" kern="1200" dirty="0"/>
            </a:p>
          </p:txBody>
        </p:sp>
      </p:grpSp>
    </p:spTree>
    <p:extLst>
      <p:ext uri="{BB962C8B-B14F-4D97-AF65-F5344CB8AC3E}">
        <p14:creationId xmlns:p14="http://schemas.microsoft.com/office/powerpoint/2010/main" val="13183693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1"/>
          </p:nvPr>
        </p:nvSpPr>
        <p:spPr/>
        <p:txBody>
          <a:bodyPr/>
          <a:lstStyle/>
          <a:p>
            <a:pPr lvl="0">
              <a:lnSpc>
                <a:spcPct val="150000"/>
              </a:lnSpc>
            </a:pPr>
            <a:r>
              <a:rPr lang="en-GB" sz="1400" b="0" dirty="0" smtClean="0"/>
              <a:t>Formal </a:t>
            </a:r>
            <a:r>
              <a:rPr lang="en-GB" sz="1400" b="0" dirty="0"/>
              <a:t>specifications describe:</a:t>
            </a:r>
          </a:p>
          <a:p>
            <a:pPr marL="285750" lvl="0" indent="-285750">
              <a:lnSpc>
                <a:spcPct val="150000"/>
              </a:lnSpc>
              <a:buFont typeface="Arial" panose="020B0604020202020204" pitchFamily="34" charset="0"/>
              <a:buChar char="•"/>
            </a:pPr>
            <a:r>
              <a:rPr lang="en-GB" sz="1400" b="0" dirty="0"/>
              <a:t>Data </a:t>
            </a:r>
            <a:r>
              <a:rPr lang="en-GB" sz="1400" b="0" i="1" dirty="0"/>
              <a:t>and</a:t>
            </a:r>
            <a:r>
              <a:rPr lang="en-GB" sz="1400" b="0" dirty="0"/>
              <a:t> behaviour (processing) required to realize a business process; </a:t>
            </a:r>
          </a:p>
          <a:p>
            <a:pPr marL="285750" lvl="0" indent="-285750">
              <a:lnSpc>
                <a:spcPct val="150000"/>
              </a:lnSpc>
              <a:buFont typeface="Arial" panose="020B0604020202020204" pitchFamily="34" charset="0"/>
              <a:buChar char="•"/>
            </a:pPr>
            <a:r>
              <a:rPr lang="en-GB" sz="1400" b="0" dirty="0"/>
              <a:t>The roles played by parties involved in a transaction: </a:t>
            </a:r>
            <a:r>
              <a:rPr lang="en-GB" sz="1400" b="0" i="1" dirty="0"/>
              <a:t>who can see what</a:t>
            </a:r>
            <a:r>
              <a:rPr lang="en-GB" sz="1400" b="0" dirty="0"/>
              <a:t> and </a:t>
            </a:r>
            <a:r>
              <a:rPr lang="en-GB" sz="1400" b="0" i="1" dirty="0"/>
              <a:t>who can do </a:t>
            </a:r>
            <a:r>
              <a:rPr lang="en-GB" sz="1400" b="0" i="1" dirty="0" smtClean="0"/>
              <a:t>what</a:t>
            </a:r>
            <a:r>
              <a:rPr lang="en-GB" sz="1400" b="0" dirty="0" smtClean="0"/>
              <a:t>;</a:t>
            </a:r>
          </a:p>
          <a:p>
            <a:pPr marL="285750" lvl="0" indent="-285750">
              <a:lnSpc>
                <a:spcPct val="150000"/>
              </a:lnSpc>
              <a:buFont typeface="Arial" panose="020B0604020202020204" pitchFamily="34" charset="0"/>
              <a:buChar char="•"/>
            </a:pPr>
            <a:r>
              <a:rPr lang="en-GB" sz="1400" b="0" dirty="0" smtClean="0"/>
              <a:t>Data definitions </a:t>
            </a:r>
            <a:r>
              <a:rPr lang="en-GB" sz="1400" b="0" i="1" dirty="0" smtClean="0"/>
              <a:t>re-used</a:t>
            </a:r>
            <a:r>
              <a:rPr lang="en-GB" sz="1400" b="0" dirty="0" smtClean="0"/>
              <a:t> from ISO 20022 business/conceptual</a:t>
            </a:r>
          </a:p>
          <a:p>
            <a:pPr marL="285750" lvl="0" indent="-285750">
              <a:lnSpc>
                <a:spcPct val="150000"/>
              </a:lnSpc>
              <a:buFont typeface="Arial" panose="020B0604020202020204" pitchFamily="34" charset="0"/>
              <a:buChar char="•"/>
            </a:pPr>
            <a:r>
              <a:rPr lang="en-GB" sz="1400" b="0" dirty="0" smtClean="0"/>
              <a:t>Behaviour </a:t>
            </a:r>
            <a:r>
              <a:rPr lang="en-GB" sz="1400" b="0" i="1" dirty="0" smtClean="0"/>
              <a:t>derived</a:t>
            </a:r>
            <a:r>
              <a:rPr lang="en-GB" sz="1400" b="0" dirty="0" smtClean="0"/>
              <a:t> from ISO 20022 business process definitions</a:t>
            </a:r>
          </a:p>
          <a:p>
            <a:pPr marL="285750" lvl="0" indent="-285750">
              <a:lnSpc>
                <a:spcPct val="150000"/>
              </a:lnSpc>
              <a:buFont typeface="Arial" panose="020B0604020202020204" pitchFamily="34" charset="0"/>
              <a:buChar char="•"/>
            </a:pPr>
            <a:r>
              <a:rPr lang="en-GB" sz="1400" b="0" i="1" dirty="0" smtClean="0"/>
              <a:t>Work will be required to adapt ISO 20022 to the new </a:t>
            </a:r>
            <a:r>
              <a:rPr lang="en-GB" sz="1400" b="0" i="1" dirty="0" smtClean="0"/>
              <a:t>paradigm</a:t>
            </a:r>
            <a:endParaRPr lang="en-GB" sz="1400" b="0" i="1" dirty="0" smtClean="0"/>
          </a:p>
          <a:p>
            <a:pPr marL="285750" lvl="0" indent="-285750">
              <a:lnSpc>
                <a:spcPct val="150000"/>
              </a:lnSpc>
              <a:buFont typeface="Arial" panose="020B0604020202020204" pitchFamily="34" charset="0"/>
              <a:buChar char="•"/>
            </a:pPr>
            <a:endParaRPr lang="en-GB" sz="1400" b="0" dirty="0"/>
          </a:p>
          <a:p>
            <a:pPr>
              <a:lnSpc>
                <a:spcPct val="150000"/>
              </a:lnSpc>
            </a:pPr>
            <a:endParaRPr lang="en-GB" sz="1400" b="0" dirty="0" smtClean="0"/>
          </a:p>
          <a:p>
            <a:pPr>
              <a:lnSpc>
                <a:spcPct val="150000"/>
              </a:lnSpc>
            </a:pPr>
            <a:endParaRPr lang="en-GB" sz="1400" b="0" dirty="0" smtClean="0"/>
          </a:p>
          <a:p>
            <a:pPr>
              <a:lnSpc>
                <a:spcPct val="150000"/>
              </a:lnSpc>
            </a:pPr>
            <a:endParaRPr lang="en-GB" sz="1400" b="0" dirty="0"/>
          </a:p>
          <a:p>
            <a:pPr>
              <a:lnSpc>
                <a:spcPct val="150000"/>
              </a:lnSpc>
            </a:pPr>
            <a:r>
              <a:rPr lang="en-GB" sz="1400" b="0" dirty="0" smtClean="0"/>
              <a:t> </a:t>
            </a:r>
            <a:endParaRPr lang="en-GB" sz="1400" b="0" dirty="0"/>
          </a:p>
          <a:p>
            <a:endParaRPr lang="en-GB" dirty="0"/>
          </a:p>
        </p:txBody>
      </p:sp>
      <p:sp>
        <p:nvSpPr>
          <p:cNvPr id="4" name="Footer Placeholder 3"/>
          <p:cNvSpPr>
            <a:spLocks noGrp="1"/>
          </p:cNvSpPr>
          <p:nvPr>
            <p:ph type="ftr" sz="quarter" idx="10"/>
          </p:nvPr>
        </p:nvSpPr>
        <p:spPr/>
        <p:txBody>
          <a:bodyPr/>
          <a:lstStyle/>
          <a:p>
            <a:endParaRPr lang="en-GB" dirty="0">
              <a:solidFill>
                <a:srgbClr val="EEECE1">
                  <a:lumMod val="25000"/>
                </a:srgbClr>
              </a:solidFill>
            </a:endParaRPr>
          </a:p>
        </p:txBody>
      </p:sp>
      <p:grpSp>
        <p:nvGrpSpPr>
          <p:cNvPr id="5" name="Group 4"/>
          <p:cNvGrpSpPr/>
          <p:nvPr/>
        </p:nvGrpSpPr>
        <p:grpSpPr>
          <a:xfrm>
            <a:off x="157279" y="518195"/>
            <a:ext cx="2138633" cy="324720"/>
            <a:chOff x="183620" y="839768"/>
            <a:chExt cx="2570681" cy="324720"/>
          </a:xfrm>
        </p:grpSpPr>
        <p:sp>
          <p:nvSpPr>
            <p:cNvPr id="6" name="Rounded Rectangle 5"/>
            <p:cNvSpPr/>
            <p:nvPr/>
          </p:nvSpPr>
          <p:spPr>
            <a:xfrm>
              <a:off x="183620" y="839768"/>
              <a:ext cx="2570681" cy="324720"/>
            </a:xfrm>
            <a:prstGeom prst="roundRect">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Rounded Rectangle 4"/>
            <p:cNvSpPr/>
            <p:nvPr/>
          </p:nvSpPr>
          <p:spPr>
            <a:xfrm>
              <a:off x="199472" y="855620"/>
              <a:ext cx="2538977" cy="2930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DLT Logical Layer</a:t>
              </a:r>
              <a:endParaRPr lang="en-GB" sz="1100" kern="1200" dirty="0"/>
            </a:p>
          </p:txBody>
        </p:sp>
      </p:grpSp>
      <p:sp>
        <p:nvSpPr>
          <p:cNvPr id="8" name="Title 1"/>
          <p:cNvSpPr>
            <a:spLocks noGrp="1"/>
          </p:cNvSpPr>
          <p:nvPr>
            <p:ph type="title"/>
          </p:nvPr>
        </p:nvSpPr>
        <p:spPr>
          <a:xfrm>
            <a:off x="144091" y="162000"/>
            <a:ext cx="2088231" cy="4680520"/>
          </a:xfrm>
        </p:spPr>
        <p:txBody>
          <a:bodyPr/>
          <a:lstStyle/>
          <a:p>
            <a:r>
              <a:rPr lang="en-GB" dirty="0" smtClean="0"/>
              <a:t>Imagine</a:t>
            </a:r>
            <a:endParaRPr lang="en-GB" i="1" dirty="0"/>
          </a:p>
        </p:txBody>
      </p:sp>
    </p:spTree>
    <p:extLst>
      <p:ext uri="{BB962C8B-B14F-4D97-AF65-F5344CB8AC3E}">
        <p14:creationId xmlns:p14="http://schemas.microsoft.com/office/powerpoint/2010/main" val="4076247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1"/>
          </p:nvPr>
        </p:nvSpPr>
        <p:spPr/>
        <p:txBody>
          <a:bodyPr/>
          <a:lstStyle/>
          <a:p>
            <a:pPr lvl="0">
              <a:lnSpc>
                <a:spcPct val="150000"/>
              </a:lnSpc>
            </a:pPr>
            <a:r>
              <a:rPr lang="en-GB" sz="1400" b="0" dirty="0" smtClean="0"/>
              <a:t>Physical layer is a technical implementation derived from logical layer</a:t>
            </a:r>
            <a:endParaRPr lang="en-GB" sz="1400" b="0" dirty="0"/>
          </a:p>
          <a:p>
            <a:pPr marL="285750" lvl="0" indent="-285750">
              <a:lnSpc>
                <a:spcPct val="150000"/>
              </a:lnSpc>
              <a:buFont typeface="Arial" panose="020B0604020202020204" pitchFamily="34" charset="0"/>
              <a:buChar char="•"/>
            </a:pPr>
            <a:r>
              <a:rPr lang="en-GB" sz="1400" b="0" dirty="0" smtClean="0"/>
              <a:t>ISO 20022 data structures represented physically on ledger</a:t>
            </a:r>
          </a:p>
          <a:p>
            <a:pPr marL="285750" lvl="0" indent="-285750">
              <a:lnSpc>
                <a:spcPct val="150000"/>
              </a:lnSpc>
              <a:buFont typeface="Arial" panose="020B0604020202020204" pitchFamily="34" charset="0"/>
              <a:buChar char="•"/>
            </a:pPr>
            <a:r>
              <a:rPr lang="en-GB" sz="1400" b="0" dirty="0" smtClean="0"/>
              <a:t>Data encapsulated  according to Object Oriented principles</a:t>
            </a:r>
          </a:p>
          <a:p>
            <a:pPr marL="285750" lvl="0" indent="-285750">
              <a:lnSpc>
                <a:spcPct val="150000"/>
              </a:lnSpc>
              <a:buFont typeface="Arial" panose="020B0604020202020204" pitchFamily="34" charset="0"/>
              <a:buChar char="•"/>
            </a:pPr>
            <a:r>
              <a:rPr lang="en-GB" sz="1400" b="0" dirty="0" smtClean="0"/>
              <a:t>Behaviour implemented as Smart Contracts</a:t>
            </a:r>
          </a:p>
          <a:p>
            <a:pPr marL="285750" lvl="0" indent="-285750">
              <a:lnSpc>
                <a:spcPct val="150000"/>
              </a:lnSpc>
              <a:buFont typeface="Arial" panose="020B0604020202020204" pitchFamily="34" charset="0"/>
              <a:buChar char="•"/>
            </a:pPr>
            <a:r>
              <a:rPr lang="en-GB" sz="1400" b="0" dirty="0" smtClean="0"/>
              <a:t>Access rights enforced through Role Based Access Controls</a:t>
            </a:r>
          </a:p>
          <a:p>
            <a:pPr marL="285750" lvl="0" indent="-285750">
              <a:lnSpc>
                <a:spcPct val="150000"/>
              </a:lnSpc>
              <a:buFont typeface="Arial" panose="020B0604020202020204" pitchFamily="34" charset="0"/>
              <a:buChar char="•"/>
            </a:pPr>
            <a:r>
              <a:rPr lang="en-GB" sz="1400" b="0" dirty="0" smtClean="0"/>
              <a:t>Users authenticated by the </a:t>
            </a:r>
            <a:r>
              <a:rPr lang="en-GB" sz="1400" b="0" dirty="0" smtClean="0"/>
              <a:t>platform</a:t>
            </a:r>
            <a:endParaRPr lang="en-GB" sz="1400" b="0" i="1" dirty="0" smtClean="0"/>
          </a:p>
          <a:p>
            <a:pPr marL="285750" lvl="0" indent="-285750">
              <a:lnSpc>
                <a:spcPct val="150000"/>
              </a:lnSpc>
              <a:buFont typeface="Arial" panose="020B0604020202020204" pitchFamily="34" charset="0"/>
              <a:buChar char="•"/>
            </a:pPr>
            <a:endParaRPr lang="en-GB" sz="1400" b="0" i="1" dirty="0" smtClean="0"/>
          </a:p>
          <a:p>
            <a:pPr marL="285750" lvl="0" indent="-285750">
              <a:lnSpc>
                <a:spcPct val="150000"/>
              </a:lnSpc>
              <a:buFont typeface="Arial" panose="020B0604020202020204" pitchFamily="34" charset="0"/>
              <a:buChar char="•"/>
            </a:pPr>
            <a:endParaRPr lang="en-GB" sz="1400" b="0" dirty="0"/>
          </a:p>
          <a:p>
            <a:pPr>
              <a:lnSpc>
                <a:spcPct val="150000"/>
              </a:lnSpc>
            </a:pPr>
            <a:endParaRPr lang="en-GB" sz="1400" b="0" dirty="0" smtClean="0"/>
          </a:p>
          <a:p>
            <a:pPr>
              <a:lnSpc>
                <a:spcPct val="150000"/>
              </a:lnSpc>
            </a:pPr>
            <a:endParaRPr lang="en-GB" sz="1400" b="0" dirty="0" smtClean="0"/>
          </a:p>
          <a:p>
            <a:pPr>
              <a:lnSpc>
                <a:spcPct val="150000"/>
              </a:lnSpc>
            </a:pPr>
            <a:endParaRPr lang="en-GB" sz="1400" b="0" dirty="0"/>
          </a:p>
          <a:p>
            <a:pPr>
              <a:lnSpc>
                <a:spcPct val="150000"/>
              </a:lnSpc>
            </a:pPr>
            <a:r>
              <a:rPr lang="en-GB" sz="1400" b="0" dirty="0" smtClean="0"/>
              <a:t> </a:t>
            </a:r>
            <a:endParaRPr lang="en-GB" sz="1400" b="0" dirty="0"/>
          </a:p>
          <a:p>
            <a:endParaRPr lang="en-GB" dirty="0"/>
          </a:p>
        </p:txBody>
      </p:sp>
      <p:sp>
        <p:nvSpPr>
          <p:cNvPr id="4" name="Footer Placeholder 3"/>
          <p:cNvSpPr>
            <a:spLocks noGrp="1"/>
          </p:cNvSpPr>
          <p:nvPr>
            <p:ph type="ftr" sz="quarter" idx="10"/>
          </p:nvPr>
        </p:nvSpPr>
        <p:spPr/>
        <p:txBody>
          <a:bodyPr/>
          <a:lstStyle/>
          <a:p>
            <a:endParaRPr lang="en-GB" dirty="0">
              <a:solidFill>
                <a:srgbClr val="EEECE1">
                  <a:lumMod val="25000"/>
                </a:srgbClr>
              </a:solidFill>
            </a:endParaRPr>
          </a:p>
        </p:txBody>
      </p:sp>
      <p:grpSp>
        <p:nvGrpSpPr>
          <p:cNvPr id="5" name="Group 4"/>
          <p:cNvGrpSpPr/>
          <p:nvPr/>
        </p:nvGrpSpPr>
        <p:grpSpPr>
          <a:xfrm>
            <a:off x="157279" y="518195"/>
            <a:ext cx="2138633" cy="324720"/>
            <a:chOff x="183620" y="839768"/>
            <a:chExt cx="2570681" cy="324720"/>
          </a:xfrm>
        </p:grpSpPr>
        <p:sp>
          <p:nvSpPr>
            <p:cNvPr id="6" name="Rounded Rectangle 5"/>
            <p:cNvSpPr/>
            <p:nvPr/>
          </p:nvSpPr>
          <p:spPr>
            <a:xfrm>
              <a:off x="183620" y="839768"/>
              <a:ext cx="2570681" cy="324720"/>
            </a:xfrm>
            <a:prstGeom prst="roundRect">
              <a:avLst/>
            </a:prstGeom>
            <a:solidFill>
              <a:srgbClr val="FFC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7" name="Rounded Rectangle 4"/>
            <p:cNvSpPr/>
            <p:nvPr/>
          </p:nvSpPr>
          <p:spPr>
            <a:xfrm>
              <a:off x="199472" y="855620"/>
              <a:ext cx="2538977" cy="29301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7166" tIns="0" rIns="97166" bIns="0" numCol="1" spcCol="1270" anchor="ctr" anchorCtr="0">
              <a:noAutofit/>
            </a:bodyPr>
            <a:lstStyle/>
            <a:p>
              <a:pPr lvl="0" algn="l" defTabSz="488950">
                <a:lnSpc>
                  <a:spcPct val="90000"/>
                </a:lnSpc>
                <a:spcBef>
                  <a:spcPct val="0"/>
                </a:spcBef>
                <a:spcAft>
                  <a:spcPct val="35000"/>
                </a:spcAft>
              </a:pPr>
              <a:r>
                <a:rPr lang="en-US" sz="1100" kern="1200" dirty="0" smtClean="0"/>
                <a:t>DLT Physical Layer</a:t>
              </a:r>
              <a:endParaRPr lang="en-GB" sz="1100" kern="1200" dirty="0"/>
            </a:p>
          </p:txBody>
        </p:sp>
      </p:grpSp>
      <p:sp>
        <p:nvSpPr>
          <p:cNvPr id="8" name="Title 1"/>
          <p:cNvSpPr>
            <a:spLocks noGrp="1"/>
          </p:cNvSpPr>
          <p:nvPr>
            <p:ph type="title"/>
          </p:nvPr>
        </p:nvSpPr>
        <p:spPr>
          <a:xfrm>
            <a:off x="144091" y="162000"/>
            <a:ext cx="2088231" cy="4680520"/>
          </a:xfrm>
        </p:spPr>
        <p:txBody>
          <a:bodyPr/>
          <a:lstStyle/>
          <a:p>
            <a:r>
              <a:rPr lang="en-GB" dirty="0" smtClean="0"/>
              <a:t>Imagine</a:t>
            </a:r>
            <a:endParaRPr lang="en-GB" i="1" dirty="0"/>
          </a:p>
        </p:txBody>
      </p:sp>
    </p:spTree>
    <p:extLst>
      <p:ext uri="{BB962C8B-B14F-4D97-AF65-F5344CB8AC3E}">
        <p14:creationId xmlns:p14="http://schemas.microsoft.com/office/powerpoint/2010/main" val="1827341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SWIFT 16-9 Template - July 2015">
  <a:themeElements>
    <a:clrScheme name="SWIFT">
      <a:dk1>
        <a:sysClr val="windowText" lastClr="000000"/>
      </a:dk1>
      <a:lt1>
        <a:sysClr val="window" lastClr="FFFFFF"/>
      </a:lt1>
      <a:dk2>
        <a:srgbClr val="766C62"/>
      </a:dk2>
      <a:lt2>
        <a:srgbClr val="EEECE1"/>
      </a:lt2>
      <a:accent1>
        <a:srgbClr val="693695"/>
      </a:accent1>
      <a:accent2>
        <a:srgbClr val="970254"/>
      </a:accent2>
      <a:accent3>
        <a:srgbClr val="FFCC00"/>
      </a:accent3>
      <a:accent4>
        <a:srgbClr val="DB5D25"/>
      </a:accent4>
      <a:accent5>
        <a:srgbClr val="B5A300"/>
      </a:accent5>
      <a:accent6>
        <a:srgbClr val="827C34"/>
      </a:accent6>
      <a:hlink>
        <a:srgbClr val="F0AB00"/>
      </a:hlink>
      <a:folHlink>
        <a:srgbClr val="A0CFEB"/>
      </a:folHlink>
    </a:clrScheme>
    <a:fontScheme name="SWIFT_PPT_Template_20080923">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SWIFT_PPT_Template_20080923 1">
        <a:dk1>
          <a:srgbClr val="000000"/>
        </a:dk1>
        <a:lt1>
          <a:srgbClr val="FFFFFF"/>
        </a:lt1>
        <a:dk2>
          <a:srgbClr val="000000"/>
        </a:dk2>
        <a:lt2>
          <a:srgbClr val="C0C0C0"/>
        </a:lt2>
        <a:accent1>
          <a:srgbClr val="766A62"/>
        </a:accent1>
        <a:accent2>
          <a:srgbClr val="CC6633"/>
        </a:accent2>
        <a:accent3>
          <a:srgbClr val="FFFFFF"/>
        </a:accent3>
        <a:accent4>
          <a:srgbClr val="000000"/>
        </a:accent4>
        <a:accent5>
          <a:srgbClr val="BDB9B7"/>
        </a:accent5>
        <a:accent6>
          <a:srgbClr val="B95C2D"/>
        </a:accent6>
        <a:hlink>
          <a:srgbClr val="B5A300"/>
        </a:hlink>
        <a:folHlink>
          <a:srgbClr val="9723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WIFT_CF_BL4791">
  <a:themeElements>
    <a:clrScheme name="Current">
      <a:dk1>
        <a:srgbClr val="7A6E67"/>
      </a:dk1>
      <a:lt1>
        <a:srgbClr val="FFFFFF"/>
      </a:lt1>
      <a:dk2>
        <a:srgbClr val="7A6E67"/>
      </a:dk2>
      <a:lt2>
        <a:srgbClr val="FFCC00"/>
      </a:lt2>
      <a:accent1>
        <a:srgbClr val="B5A300"/>
      </a:accent1>
      <a:accent2>
        <a:srgbClr val="7A6E67"/>
      </a:accent2>
      <a:accent3>
        <a:srgbClr val="693695"/>
      </a:accent3>
      <a:accent4>
        <a:srgbClr val="970254"/>
      </a:accent4>
      <a:accent5>
        <a:srgbClr val="E16600"/>
      </a:accent5>
      <a:accent6>
        <a:srgbClr val="808080"/>
      </a:accent6>
      <a:hlink>
        <a:srgbClr val="693695"/>
      </a:hlink>
      <a:folHlink>
        <a:srgbClr val="97025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7A6E67"/>
        </a:dk1>
        <a:lt1>
          <a:srgbClr val="FFFFFF"/>
        </a:lt1>
        <a:dk2>
          <a:srgbClr val="7A6E67"/>
        </a:dk2>
        <a:lt2>
          <a:srgbClr val="FFCC00"/>
        </a:lt2>
        <a:accent1>
          <a:srgbClr val="B5A300"/>
        </a:accent1>
        <a:accent2>
          <a:srgbClr val="7A6E67"/>
        </a:accent2>
        <a:accent3>
          <a:srgbClr val="693695"/>
        </a:accent3>
        <a:accent4>
          <a:srgbClr val="970254"/>
        </a:accent4>
        <a:accent5>
          <a:srgbClr val="E16600"/>
        </a:accent5>
        <a:accent6>
          <a:srgbClr val="808080"/>
        </a:accent6>
        <a:hlink>
          <a:srgbClr val="693695"/>
        </a:hlink>
        <a:folHlink>
          <a:srgbClr val="97025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0 Baseform.potx" id="{2159DD3E-2A1C-4F97-A703-BAFC1D6962B2}" vid="{E96B58C4-C6ED-4B68-9616-32754B0CC414}"/>
    </a:ext>
  </a:extLst>
</a:theme>
</file>

<file path=ppt/theme/theme3.xml><?xml version="1.0" encoding="utf-8"?>
<a:theme xmlns:a="http://schemas.openxmlformats.org/drawingml/2006/main" name="1_SWIFT_CF_BL4791">
  <a:themeElements>
    <a:clrScheme name="Current">
      <a:dk1>
        <a:srgbClr val="7A6E67"/>
      </a:dk1>
      <a:lt1>
        <a:srgbClr val="FFFFFF"/>
      </a:lt1>
      <a:dk2>
        <a:srgbClr val="7A6E67"/>
      </a:dk2>
      <a:lt2>
        <a:srgbClr val="FFCC00"/>
      </a:lt2>
      <a:accent1>
        <a:srgbClr val="B5A300"/>
      </a:accent1>
      <a:accent2>
        <a:srgbClr val="7A6E67"/>
      </a:accent2>
      <a:accent3>
        <a:srgbClr val="693695"/>
      </a:accent3>
      <a:accent4>
        <a:srgbClr val="970254"/>
      </a:accent4>
      <a:accent5>
        <a:srgbClr val="E16600"/>
      </a:accent5>
      <a:accent6>
        <a:srgbClr val="808080"/>
      </a:accent6>
      <a:hlink>
        <a:srgbClr val="693695"/>
      </a:hlink>
      <a:folHlink>
        <a:srgbClr val="970254"/>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7A6E67"/>
        </a:dk1>
        <a:lt1>
          <a:srgbClr val="FFFFFF"/>
        </a:lt1>
        <a:dk2>
          <a:srgbClr val="7A6E67"/>
        </a:dk2>
        <a:lt2>
          <a:srgbClr val="FFCC00"/>
        </a:lt2>
        <a:accent1>
          <a:srgbClr val="B5A300"/>
        </a:accent1>
        <a:accent2>
          <a:srgbClr val="7A6E67"/>
        </a:accent2>
        <a:accent3>
          <a:srgbClr val="693695"/>
        </a:accent3>
        <a:accent4>
          <a:srgbClr val="970254"/>
        </a:accent4>
        <a:accent5>
          <a:srgbClr val="E16600"/>
        </a:accent5>
        <a:accent6>
          <a:srgbClr val="808080"/>
        </a:accent6>
        <a:hlink>
          <a:srgbClr val="693695"/>
        </a:hlink>
        <a:folHlink>
          <a:srgbClr val="970254"/>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0 Baseform.potx" id="{2159DD3E-2A1C-4F97-A703-BAFC1D6962B2}" vid="{E96B58C4-C6ED-4B68-9616-32754B0CC414}"/>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WIFT 16-9 Template - July 2015</Template>
  <TotalTime>7859</TotalTime>
  <Words>393</Words>
  <Application>Microsoft Office PowerPoint</Application>
  <PresentationFormat>Custom</PresentationFormat>
  <Paragraphs>89</Paragraphs>
  <Slides>5</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SWIFT 16-9 Template - July 2015</vt:lpstr>
      <vt:lpstr>SWIFT_CF_BL4791</vt:lpstr>
      <vt:lpstr>1_SWIFT_CF_BL4791</vt:lpstr>
      <vt:lpstr>think-cell Slide</vt:lpstr>
      <vt:lpstr>A change of paradigm: how does Distributed Ledger fit with existing standards?</vt:lpstr>
      <vt:lpstr>DLT is not messaging...   …but we can benefit from shared business content  </vt:lpstr>
      <vt:lpstr>Re-use of business model content  Bonds</vt:lpstr>
      <vt:lpstr>Imagine</vt:lpstr>
      <vt:lpstr>Imagine</vt:lpstr>
    </vt:vector>
  </TitlesOfParts>
  <Company>SWIFT</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LT in Securities Markets Rationale, use cases, role for SWIFT</dc:title>
  <dc:creator>VANDENREYDT Fabian</dc:creator>
  <dc:description>©2008</dc:description>
  <cp:lastModifiedBy>KETELS Kris</cp:lastModifiedBy>
  <cp:revision>65</cp:revision>
  <cp:lastPrinted>2016-01-15T14:06:15Z</cp:lastPrinted>
  <dcterms:created xsi:type="dcterms:W3CDTF">2016-01-15T13:43:43Z</dcterms:created>
  <dcterms:modified xsi:type="dcterms:W3CDTF">2016-05-26T14:10:39Z</dcterms:modified>
</cp:coreProperties>
</file>